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5" r:id="rId4"/>
    <p:sldMasterId id="2147483757" r:id="rId5"/>
    <p:sldMasterId id="2147483824" r:id="rId6"/>
  </p:sldMasterIdLst>
  <p:notesMasterIdLst>
    <p:notesMasterId r:id="rId32"/>
  </p:notesMasterIdLst>
  <p:handoutMasterIdLst>
    <p:handoutMasterId r:id="rId33"/>
  </p:handoutMasterIdLst>
  <p:sldIdLst>
    <p:sldId id="333" r:id="rId7"/>
    <p:sldId id="417" r:id="rId8"/>
    <p:sldId id="362" r:id="rId9"/>
    <p:sldId id="366" r:id="rId10"/>
    <p:sldId id="387" r:id="rId11"/>
    <p:sldId id="376" r:id="rId12"/>
    <p:sldId id="395" r:id="rId13"/>
    <p:sldId id="416" r:id="rId14"/>
    <p:sldId id="396" r:id="rId15"/>
    <p:sldId id="407" r:id="rId16"/>
    <p:sldId id="392" r:id="rId17"/>
    <p:sldId id="393" r:id="rId18"/>
    <p:sldId id="399" r:id="rId19"/>
    <p:sldId id="413" r:id="rId20"/>
    <p:sldId id="421" r:id="rId21"/>
    <p:sldId id="419" r:id="rId22"/>
    <p:sldId id="420" r:id="rId23"/>
    <p:sldId id="422" r:id="rId24"/>
    <p:sldId id="369" r:id="rId25"/>
    <p:sldId id="370" r:id="rId26"/>
    <p:sldId id="371" r:id="rId27"/>
    <p:sldId id="383" r:id="rId28"/>
    <p:sldId id="384" r:id="rId29"/>
    <p:sldId id="385" r:id="rId30"/>
    <p:sldId id="423" r:id="rId3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9FECBB82-2669-CC48-8FDC-D3F675527DEB}">
          <p14:sldIdLst>
            <p14:sldId id="333"/>
          </p14:sldIdLst>
        </p14:section>
        <p14:section name="Was ist CSR?" id="{B9480D27-E59A-4C17-8E9F-5160861AC5CD}">
          <p14:sldIdLst>
            <p14:sldId id="417"/>
            <p14:sldId id="362"/>
            <p14:sldId id="366"/>
            <p14:sldId id="387"/>
            <p14:sldId id="376"/>
            <p14:sldId id="395"/>
            <p14:sldId id="416"/>
            <p14:sldId id="396"/>
            <p14:sldId id="407"/>
          </p14:sldIdLst>
        </p14:section>
        <p14:section name="CSRD und internationale Rahmenweke" id="{36CF51A4-DD54-4D09-BC15-737428FD1985}">
          <p14:sldIdLst>
            <p14:sldId id="392"/>
            <p14:sldId id="393"/>
            <p14:sldId id="399"/>
            <p14:sldId id="413"/>
          </p14:sldIdLst>
        </p14:section>
        <p14:section name="Nachhaltigkeit in WfbM" id="{3AEB83A0-7225-4282-ADFC-B6688019B644}">
          <p14:sldIdLst>
            <p14:sldId id="421"/>
            <p14:sldId id="419"/>
            <p14:sldId id="420"/>
            <p14:sldId id="422"/>
          </p14:sldIdLst>
        </p14:section>
        <p14:section name="Internationale Rahmenwerke" id="{CF862A33-1444-4AE8-ADD2-D91AE97F620C}">
          <p14:sldIdLst>
            <p14:sldId id="369"/>
            <p14:sldId id="370"/>
            <p14:sldId id="371"/>
          </p14:sldIdLst>
        </p14:section>
        <p14:section name="Wesentlichkeitsanalyse" id="{CE998552-CE1B-4B69-B4FD-3AD5C950A6F5}">
          <p14:sldIdLst>
            <p14:sldId id="383"/>
            <p14:sldId id="384"/>
            <p14:sldId id="385"/>
            <p14:sldId id="423"/>
          </p14:sldIdLst>
        </p14:section>
      </p14:sectionLst>
    </p:ext>
    <p:ext uri="{EFAFB233-063F-42B5-8137-9DF3F51BA10A}">
      <p15:sldGuideLst xmlns:p15="http://schemas.microsoft.com/office/powerpoint/2012/main">
        <p15:guide id="1" orient="horz" pos="2160" userDrawn="1">
          <p15:clr>
            <a:srgbClr val="A4A3A4"/>
          </p15:clr>
        </p15:guide>
        <p15:guide id="2" pos="542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ulik" initials="JK" lastIdx="5" clrIdx="0">
    <p:extLst>
      <p:ext uri="{19B8F6BF-5375-455C-9EA6-DF929625EA0E}">
        <p15:presenceInfo xmlns:p15="http://schemas.microsoft.com/office/powerpoint/2012/main" userId="S::j.kulik@lhlk.de::73c6f0e4-47fc-428f-88b2-efd91ddd555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CFCFC"/>
    <a:srgbClr val="FDFDFD"/>
    <a:srgbClr val="FAFAFA"/>
    <a:srgbClr val="1F2E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15" autoAdjust="0"/>
    <p:restoredTop sz="74631" autoAdjust="0"/>
  </p:normalViewPr>
  <p:slideViewPr>
    <p:cSldViewPr snapToGrid="0" snapToObjects="1">
      <p:cViewPr varScale="1">
        <p:scale>
          <a:sx n="87" d="100"/>
          <a:sy n="87" d="100"/>
        </p:scale>
        <p:origin x="1454" y="72"/>
      </p:cViewPr>
      <p:guideLst>
        <p:guide orient="horz" pos="2160"/>
        <p:guide pos="5428"/>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80" d="100"/>
        <a:sy n="80" d="100"/>
      </p:scale>
      <p:origin x="0" y="0"/>
    </p:cViewPr>
  </p:sorterViewPr>
  <p:notesViewPr>
    <p:cSldViewPr snapToGrid="0" snapToObjects="1">
      <p:cViewPr varScale="1">
        <p:scale>
          <a:sx n="105" d="100"/>
          <a:sy n="105" d="100"/>
        </p:scale>
        <p:origin x="3456"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diagrams/_rels/data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image" Target="../media/image9.jpg"/></Relationships>
</file>

<file path=ppt/diagrams/_rels/data4.xml.rels><?xml version="1.0" encoding="UTF-8" standalone="yes"?>
<Relationships xmlns="http://schemas.openxmlformats.org/package/2006/relationships"><Relationship Id="rId8" Type="http://schemas.openxmlformats.org/officeDocument/2006/relationships/image" Target="../media/image26.svg"/><Relationship Id="rId7" Type="http://schemas.openxmlformats.org/officeDocument/2006/relationships/image" Target="../media/image16.png"/><Relationship Id="rId1" Type="http://schemas.openxmlformats.org/officeDocument/2006/relationships/image" Target="../media/image14.png"/><Relationship Id="rId6" Type="http://schemas.openxmlformats.org/officeDocument/2006/relationships/image" Target="../media/image24.svg"/><Relationship Id="rId5" Type="http://schemas.openxmlformats.org/officeDocument/2006/relationships/image" Target="../media/image15.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1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image" Target="../media/image9.jpg"/></Relationships>
</file>

<file path=ppt/diagrams/_rels/drawing4.xml.rels><?xml version="1.0" encoding="UTF-8" standalone="yes"?>
<Relationships xmlns="http://schemas.openxmlformats.org/package/2006/relationships"><Relationship Id="rId8" Type="http://schemas.openxmlformats.org/officeDocument/2006/relationships/image" Target="../media/image26.svg"/><Relationship Id="rId7" Type="http://schemas.openxmlformats.org/officeDocument/2006/relationships/image" Target="../media/image16.png"/><Relationship Id="rId1" Type="http://schemas.openxmlformats.org/officeDocument/2006/relationships/image" Target="../media/image14.png"/><Relationship Id="rId6" Type="http://schemas.openxmlformats.org/officeDocument/2006/relationships/image" Target="../media/image24.svg"/><Relationship Id="rId5" Type="http://schemas.openxmlformats.org/officeDocument/2006/relationships/image" Target="../media/image15.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90DD98-3C6C-481C-9A3D-FFC91BCB102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E565F4BC-725E-48FD-9DCC-468F3900A8C2}">
      <dgm:prSet phldrT="[Text]"/>
      <dgm:spPr/>
      <dgm:t>
        <a:bodyPr/>
        <a:lstStyle/>
        <a:p>
          <a:r>
            <a:rPr lang="de-DE" dirty="0" smtClean="0"/>
            <a:t>Umsetzung unterscheidet sich je nach Unternehmen (Größe, Branche, Kerngeschäft etc.)</a:t>
          </a:r>
          <a:endParaRPr lang="de-DE" dirty="0"/>
        </a:p>
      </dgm:t>
    </dgm:pt>
    <dgm:pt modelId="{FD35421F-0F2C-4549-B480-6C93B92838CB}" type="parTrans" cxnId="{1386AE19-17DE-409E-BFD0-6C6050BD1BB0}">
      <dgm:prSet/>
      <dgm:spPr/>
      <dgm:t>
        <a:bodyPr/>
        <a:lstStyle/>
        <a:p>
          <a:endParaRPr lang="de-DE"/>
        </a:p>
      </dgm:t>
    </dgm:pt>
    <dgm:pt modelId="{960BD8B6-3B8E-47D6-AB6C-D0012D725651}" type="sibTrans" cxnId="{1386AE19-17DE-409E-BFD0-6C6050BD1BB0}">
      <dgm:prSet/>
      <dgm:spPr/>
      <dgm:t>
        <a:bodyPr/>
        <a:lstStyle/>
        <a:p>
          <a:endParaRPr lang="de-DE"/>
        </a:p>
      </dgm:t>
    </dgm:pt>
    <dgm:pt modelId="{7610491B-E0EF-4963-B9B2-B0F78C709679}">
      <dgm:prSet phldrT="[Text]"/>
      <dgm:spPr/>
      <dgm:t>
        <a:bodyPr/>
        <a:lstStyle/>
        <a:p>
          <a:r>
            <a:rPr lang="de-DE" dirty="0" smtClean="0"/>
            <a:t>CSR Tätigkeiten müssen im Bezug zur Geschäftstätigkeit geplant werden. CSR als Zusatzleitung greift zu kurz.</a:t>
          </a:r>
          <a:endParaRPr lang="de-DE" dirty="0"/>
        </a:p>
      </dgm:t>
    </dgm:pt>
    <dgm:pt modelId="{7181A679-82DD-42A5-9453-10FE249E6E7A}" type="parTrans" cxnId="{B34875B7-F476-403E-B842-6514A3B055E1}">
      <dgm:prSet/>
      <dgm:spPr/>
      <dgm:t>
        <a:bodyPr/>
        <a:lstStyle/>
        <a:p>
          <a:endParaRPr lang="de-DE"/>
        </a:p>
      </dgm:t>
    </dgm:pt>
    <dgm:pt modelId="{2D4CC395-ADC0-4444-B16C-D57D60110E89}" type="sibTrans" cxnId="{B34875B7-F476-403E-B842-6514A3B055E1}">
      <dgm:prSet/>
      <dgm:spPr/>
      <dgm:t>
        <a:bodyPr/>
        <a:lstStyle/>
        <a:p>
          <a:endParaRPr lang="de-DE"/>
        </a:p>
      </dgm:t>
    </dgm:pt>
    <dgm:pt modelId="{915C9749-6A8B-4DCB-A0AD-47C7F426A859}">
      <dgm:prSet phldrT="[Text]"/>
      <dgm:spPr/>
      <dgm:t>
        <a:bodyPr/>
        <a:lstStyle/>
        <a:p>
          <a:r>
            <a:rPr lang="de-DE" dirty="0" smtClean="0"/>
            <a:t>Strategische Planung und Integration in Gesamtstrategie notwendig</a:t>
          </a:r>
          <a:endParaRPr lang="de-DE" dirty="0"/>
        </a:p>
      </dgm:t>
    </dgm:pt>
    <dgm:pt modelId="{9E518D00-3A33-407E-A567-A03D4C863723}" type="parTrans" cxnId="{B596A9BC-4825-461B-9A3A-99AF0A3ABB53}">
      <dgm:prSet/>
      <dgm:spPr/>
      <dgm:t>
        <a:bodyPr/>
        <a:lstStyle/>
        <a:p>
          <a:endParaRPr lang="de-DE"/>
        </a:p>
      </dgm:t>
    </dgm:pt>
    <dgm:pt modelId="{FA98B9E0-FCAF-4315-A489-55FF979FFDB0}" type="sibTrans" cxnId="{B596A9BC-4825-461B-9A3A-99AF0A3ABB53}">
      <dgm:prSet/>
      <dgm:spPr/>
      <dgm:t>
        <a:bodyPr/>
        <a:lstStyle/>
        <a:p>
          <a:endParaRPr lang="de-DE"/>
        </a:p>
      </dgm:t>
    </dgm:pt>
    <dgm:pt modelId="{1B73E305-42C1-4F75-80F8-CA8ED9085CC9}">
      <dgm:prSet phldrT="[Text]"/>
      <dgm:spPr/>
      <dgm:t>
        <a:bodyPr/>
        <a:lstStyle/>
        <a:p>
          <a:r>
            <a:rPr lang="de-DE" smtClean="0"/>
            <a:t>Nur so kann Langfristigkeit und Erfolg der Maßnahmen gewährleistet sein und zum unternehmerischen Erfolg beitragen</a:t>
          </a:r>
          <a:endParaRPr lang="de-DE" dirty="0"/>
        </a:p>
      </dgm:t>
    </dgm:pt>
    <dgm:pt modelId="{F8EB7C09-0CD6-402F-BB5B-A00726B9CB8E}" type="parTrans" cxnId="{05CAF3B3-DBDB-4BFF-B0E6-4DA57E70BF89}">
      <dgm:prSet/>
      <dgm:spPr/>
      <dgm:t>
        <a:bodyPr/>
        <a:lstStyle/>
        <a:p>
          <a:endParaRPr lang="de-DE"/>
        </a:p>
      </dgm:t>
    </dgm:pt>
    <dgm:pt modelId="{7DA8AACB-CCC6-4C23-8F66-E2D951F69F92}" type="sibTrans" cxnId="{05CAF3B3-DBDB-4BFF-B0E6-4DA57E70BF89}">
      <dgm:prSet/>
      <dgm:spPr/>
      <dgm:t>
        <a:bodyPr/>
        <a:lstStyle/>
        <a:p>
          <a:endParaRPr lang="de-DE"/>
        </a:p>
      </dgm:t>
    </dgm:pt>
    <dgm:pt modelId="{3209A703-0A9B-4F61-B120-013F7EA5E6CC}" type="pres">
      <dgm:prSet presAssocID="{9D90DD98-3C6C-481C-9A3D-FFC91BCB102F}" presName="linear" presStyleCnt="0">
        <dgm:presLayoutVars>
          <dgm:dir/>
          <dgm:animLvl val="lvl"/>
          <dgm:resizeHandles val="exact"/>
        </dgm:presLayoutVars>
      </dgm:prSet>
      <dgm:spPr/>
      <dgm:t>
        <a:bodyPr/>
        <a:lstStyle/>
        <a:p>
          <a:endParaRPr lang="de-DE"/>
        </a:p>
      </dgm:t>
    </dgm:pt>
    <dgm:pt modelId="{5F86B4A7-5E1E-42B2-9B3A-18BF868096BA}" type="pres">
      <dgm:prSet presAssocID="{E565F4BC-725E-48FD-9DCC-468F3900A8C2}" presName="parentLin" presStyleCnt="0"/>
      <dgm:spPr/>
    </dgm:pt>
    <dgm:pt modelId="{6E958523-A6CF-4B04-ADB7-8C38DD953565}" type="pres">
      <dgm:prSet presAssocID="{E565F4BC-725E-48FD-9DCC-468F3900A8C2}" presName="parentLeftMargin" presStyleLbl="node1" presStyleIdx="0" presStyleCnt="4"/>
      <dgm:spPr/>
      <dgm:t>
        <a:bodyPr/>
        <a:lstStyle/>
        <a:p>
          <a:endParaRPr lang="de-DE"/>
        </a:p>
      </dgm:t>
    </dgm:pt>
    <dgm:pt modelId="{720EF234-4103-44C0-9B67-5FE09806688D}" type="pres">
      <dgm:prSet presAssocID="{E565F4BC-725E-48FD-9DCC-468F3900A8C2}" presName="parentText" presStyleLbl="node1" presStyleIdx="0" presStyleCnt="4">
        <dgm:presLayoutVars>
          <dgm:chMax val="0"/>
          <dgm:bulletEnabled val="1"/>
        </dgm:presLayoutVars>
      </dgm:prSet>
      <dgm:spPr/>
      <dgm:t>
        <a:bodyPr/>
        <a:lstStyle/>
        <a:p>
          <a:endParaRPr lang="de-DE"/>
        </a:p>
      </dgm:t>
    </dgm:pt>
    <dgm:pt modelId="{F74703D4-6357-4A35-A1F9-0CB323790CA5}" type="pres">
      <dgm:prSet presAssocID="{E565F4BC-725E-48FD-9DCC-468F3900A8C2}" presName="negativeSpace" presStyleCnt="0"/>
      <dgm:spPr/>
    </dgm:pt>
    <dgm:pt modelId="{89604E71-B4AE-40F9-8B2D-D364C9195C3A}" type="pres">
      <dgm:prSet presAssocID="{E565F4BC-725E-48FD-9DCC-468F3900A8C2}" presName="childText" presStyleLbl="conFgAcc1" presStyleIdx="0" presStyleCnt="4">
        <dgm:presLayoutVars>
          <dgm:bulletEnabled val="1"/>
        </dgm:presLayoutVars>
      </dgm:prSet>
      <dgm:spPr/>
    </dgm:pt>
    <dgm:pt modelId="{462AA726-0074-4E96-81A9-A78E9DF8ACA1}" type="pres">
      <dgm:prSet presAssocID="{960BD8B6-3B8E-47D6-AB6C-D0012D725651}" presName="spaceBetweenRectangles" presStyleCnt="0"/>
      <dgm:spPr/>
    </dgm:pt>
    <dgm:pt modelId="{C3D257BB-F977-45AD-9764-3562E021E406}" type="pres">
      <dgm:prSet presAssocID="{7610491B-E0EF-4963-B9B2-B0F78C709679}" presName="parentLin" presStyleCnt="0"/>
      <dgm:spPr/>
    </dgm:pt>
    <dgm:pt modelId="{E78A8904-8F2D-4A67-9A45-12258DACD6B4}" type="pres">
      <dgm:prSet presAssocID="{7610491B-E0EF-4963-B9B2-B0F78C709679}" presName="parentLeftMargin" presStyleLbl="node1" presStyleIdx="0" presStyleCnt="4"/>
      <dgm:spPr/>
      <dgm:t>
        <a:bodyPr/>
        <a:lstStyle/>
        <a:p>
          <a:endParaRPr lang="de-DE"/>
        </a:p>
      </dgm:t>
    </dgm:pt>
    <dgm:pt modelId="{D7992E99-004B-4E08-A89B-E305F9B2CEF5}" type="pres">
      <dgm:prSet presAssocID="{7610491B-E0EF-4963-B9B2-B0F78C709679}" presName="parentText" presStyleLbl="node1" presStyleIdx="1" presStyleCnt="4">
        <dgm:presLayoutVars>
          <dgm:chMax val="0"/>
          <dgm:bulletEnabled val="1"/>
        </dgm:presLayoutVars>
      </dgm:prSet>
      <dgm:spPr/>
      <dgm:t>
        <a:bodyPr/>
        <a:lstStyle/>
        <a:p>
          <a:endParaRPr lang="de-DE"/>
        </a:p>
      </dgm:t>
    </dgm:pt>
    <dgm:pt modelId="{F9F5779A-35FB-4B99-AC06-66BE92C9F1FD}" type="pres">
      <dgm:prSet presAssocID="{7610491B-E0EF-4963-B9B2-B0F78C709679}" presName="negativeSpace" presStyleCnt="0"/>
      <dgm:spPr/>
    </dgm:pt>
    <dgm:pt modelId="{35A7A079-95CF-4F63-A7B7-E72D7AE79646}" type="pres">
      <dgm:prSet presAssocID="{7610491B-E0EF-4963-B9B2-B0F78C709679}" presName="childText" presStyleLbl="conFgAcc1" presStyleIdx="1" presStyleCnt="4">
        <dgm:presLayoutVars>
          <dgm:bulletEnabled val="1"/>
        </dgm:presLayoutVars>
      </dgm:prSet>
      <dgm:spPr/>
    </dgm:pt>
    <dgm:pt modelId="{E1DFF441-BD80-4346-ADBC-B5F891BD1F8E}" type="pres">
      <dgm:prSet presAssocID="{2D4CC395-ADC0-4444-B16C-D57D60110E89}" presName="spaceBetweenRectangles" presStyleCnt="0"/>
      <dgm:spPr/>
    </dgm:pt>
    <dgm:pt modelId="{DCE034D9-ABC4-4387-B65A-7A31CAC91C0D}" type="pres">
      <dgm:prSet presAssocID="{915C9749-6A8B-4DCB-A0AD-47C7F426A859}" presName="parentLin" presStyleCnt="0"/>
      <dgm:spPr/>
    </dgm:pt>
    <dgm:pt modelId="{C4C30A87-324C-49DA-9949-923BFEE3964B}" type="pres">
      <dgm:prSet presAssocID="{915C9749-6A8B-4DCB-A0AD-47C7F426A859}" presName="parentLeftMargin" presStyleLbl="node1" presStyleIdx="1" presStyleCnt="4"/>
      <dgm:spPr/>
      <dgm:t>
        <a:bodyPr/>
        <a:lstStyle/>
        <a:p>
          <a:endParaRPr lang="de-DE"/>
        </a:p>
      </dgm:t>
    </dgm:pt>
    <dgm:pt modelId="{7A39A20E-659C-47DE-A87A-F3F0FB2D519C}" type="pres">
      <dgm:prSet presAssocID="{915C9749-6A8B-4DCB-A0AD-47C7F426A859}" presName="parentText" presStyleLbl="node1" presStyleIdx="2" presStyleCnt="4">
        <dgm:presLayoutVars>
          <dgm:chMax val="0"/>
          <dgm:bulletEnabled val="1"/>
        </dgm:presLayoutVars>
      </dgm:prSet>
      <dgm:spPr/>
      <dgm:t>
        <a:bodyPr/>
        <a:lstStyle/>
        <a:p>
          <a:endParaRPr lang="de-DE"/>
        </a:p>
      </dgm:t>
    </dgm:pt>
    <dgm:pt modelId="{F6153B56-CFDA-4567-8B0B-6F6319469853}" type="pres">
      <dgm:prSet presAssocID="{915C9749-6A8B-4DCB-A0AD-47C7F426A859}" presName="negativeSpace" presStyleCnt="0"/>
      <dgm:spPr/>
    </dgm:pt>
    <dgm:pt modelId="{8FF65649-2E91-47AD-B1E0-AF006D3A00BA}" type="pres">
      <dgm:prSet presAssocID="{915C9749-6A8B-4DCB-A0AD-47C7F426A859}" presName="childText" presStyleLbl="conFgAcc1" presStyleIdx="2" presStyleCnt="4">
        <dgm:presLayoutVars>
          <dgm:bulletEnabled val="1"/>
        </dgm:presLayoutVars>
      </dgm:prSet>
      <dgm:spPr/>
      <dgm:t>
        <a:bodyPr/>
        <a:lstStyle/>
        <a:p>
          <a:endParaRPr lang="de-DE"/>
        </a:p>
      </dgm:t>
    </dgm:pt>
    <dgm:pt modelId="{5CD718BA-9143-4208-91E1-AF2BE60B9761}" type="pres">
      <dgm:prSet presAssocID="{FA98B9E0-FCAF-4315-A489-55FF979FFDB0}" presName="spaceBetweenRectangles" presStyleCnt="0"/>
      <dgm:spPr/>
    </dgm:pt>
    <dgm:pt modelId="{C31460D6-B304-42DE-B22F-2C3E0FE472AA}" type="pres">
      <dgm:prSet presAssocID="{1B73E305-42C1-4F75-80F8-CA8ED9085CC9}" presName="parentLin" presStyleCnt="0"/>
      <dgm:spPr/>
    </dgm:pt>
    <dgm:pt modelId="{F6645AF5-6928-4972-9364-85FE169CB79D}" type="pres">
      <dgm:prSet presAssocID="{1B73E305-42C1-4F75-80F8-CA8ED9085CC9}" presName="parentLeftMargin" presStyleLbl="node1" presStyleIdx="2" presStyleCnt="4"/>
      <dgm:spPr/>
      <dgm:t>
        <a:bodyPr/>
        <a:lstStyle/>
        <a:p>
          <a:endParaRPr lang="de-DE"/>
        </a:p>
      </dgm:t>
    </dgm:pt>
    <dgm:pt modelId="{8EB0C7EE-6E15-4F7D-9481-4A537750CCA1}" type="pres">
      <dgm:prSet presAssocID="{1B73E305-42C1-4F75-80F8-CA8ED9085CC9}" presName="parentText" presStyleLbl="node1" presStyleIdx="3" presStyleCnt="4">
        <dgm:presLayoutVars>
          <dgm:chMax val="0"/>
          <dgm:bulletEnabled val="1"/>
        </dgm:presLayoutVars>
      </dgm:prSet>
      <dgm:spPr/>
      <dgm:t>
        <a:bodyPr/>
        <a:lstStyle/>
        <a:p>
          <a:endParaRPr lang="de-DE"/>
        </a:p>
      </dgm:t>
    </dgm:pt>
    <dgm:pt modelId="{04164144-1980-4ED3-A0BB-DF269629F2EF}" type="pres">
      <dgm:prSet presAssocID="{1B73E305-42C1-4F75-80F8-CA8ED9085CC9}" presName="negativeSpace" presStyleCnt="0"/>
      <dgm:spPr/>
    </dgm:pt>
    <dgm:pt modelId="{CE73DAB3-A00F-4D4A-B018-B4C58961A340}" type="pres">
      <dgm:prSet presAssocID="{1B73E305-42C1-4F75-80F8-CA8ED9085CC9}" presName="childText" presStyleLbl="conFgAcc1" presStyleIdx="3" presStyleCnt="4">
        <dgm:presLayoutVars>
          <dgm:bulletEnabled val="1"/>
        </dgm:presLayoutVars>
      </dgm:prSet>
      <dgm:spPr/>
    </dgm:pt>
  </dgm:ptLst>
  <dgm:cxnLst>
    <dgm:cxn modelId="{05CAF3B3-DBDB-4BFF-B0E6-4DA57E70BF89}" srcId="{9D90DD98-3C6C-481C-9A3D-FFC91BCB102F}" destId="{1B73E305-42C1-4F75-80F8-CA8ED9085CC9}" srcOrd="3" destOrd="0" parTransId="{F8EB7C09-0CD6-402F-BB5B-A00726B9CB8E}" sibTransId="{7DA8AACB-CCC6-4C23-8F66-E2D951F69F92}"/>
    <dgm:cxn modelId="{EBB29985-514D-4F24-A4B9-9397B8D3CA49}" type="presOf" srcId="{7610491B-E0EF-4963-B9B2-B0F78C709679}" destId="{E78A8904-8F2D-4A67-9A45-12258DACD6B4}" srcOrd="0" destOrd="0" presId="urn:microsoft.com/office/officeart/2005/8/layout/list1"/>
    <dgm:cxn modelId="{D5DEE767-1B0B-4C61-9EC7-5D5EB0228C60}" type="presOf" srcId="{1B73E305-42C1-4F75-80F8-CA8ED9085CC9}" destId="{F6645AF5-6928-4972-9364-85FE169CB79D}" srcOrd="0" destOrd="0" presId="urn:microsoft.com/office/officeart/2005/8/layout/list1"/>
    <dgm:cxn modelId="{1386AE19-17DE-409E-BFD0-6C6050BD1BB0}" srcId="{9D90DD98-3C6C-481C-9A3D-FFC91BCB102F}" destId="{E565F4BC-725E-48FD-9DCC-468F3900A8C2}" srcOrd="0" destOrd="0" parTransId="{FD35421F-0F2C-4549-B480-6C93B92838CB}" sibTransId="{960BD8B6-3B8E-47D6-AB6C-D0012D725651}"/>
    <dgm:cxn modelId="{B2C636E4-DBB4-4942-A2E9-8AEFC25504E2}" type="presOf" srcId="{915C9749-6A8B-4DCB-A0AD-47C7F426A859}" destId="{C4C30A87-324C-49DA-9949-923BFEE3964B}" srcOrd="0" destOrd="0" presId="urn:microsoft.com/office/officeart/2005/8/layout/list1"/>
    <dgm:cxn modelId="{9C28A289-8195-4776-A77A-1DEBCBA2B91D}" type="presOf" srcId="{1B73E305-42C1-4F75-80F8-CA8ED9085CC9}" destId="{8EB0C7EE-6E15-4F7D-9481-4A537750CCA1}" srcOrd="1" destOrd="0" presId="urn:microsoft.com/office/officeart/2005/8/layout/list1"/>
    <dgm:cxn modelId="{B596A9BC-4825-461B-9A3A-99AF0A3ABB53}" srcId="{9D90DD98-3C6C-481C-9A3D-FFC91BCB102F}" destId="{915C9749-6A8B-4DCB-A0AD-47C7F426A859}" srcOrd="2" destOrd="0" parTransId="{9E518D00-3A33-407E-A567-A03D4C863723}" sibTransId="{FA98B9E0-FCAF-4315-A489-55FF979FFDB0}"/>
    <dgm:cxn modelId="{B34875B7-F476-403E-B842-6514A3B055E1}" srcId="{9D90DD98-3C6C-481C-9A3D-FFC91BCB102F}" destId="{7610491B-E0EF-4963-B9B2-B0F78C709679}" srcOrd="1" destOrd="0" parTransId="{7181A679-82DD-42A5-9453-10FE249E6E7A}" sibTransId="{2D4CC395-ADC0-4444-B16C-D57D60110E89}"/>
    <dgm:cxn modelId="{92D53E2C-3B06-462E-BD55-3908DA6705A2}" type="presOf" srcId="{915C9749-6A8B-4DCB-A0AD-47C7F426A859}" destId="{7A39A20E-659C-47DE-A87A-F3F0FB2D519C}" srcOrd="1" destOrd="0" presId="urn:microsoft.com/office/officeart/2005/8/layout/list1"/>
    <dgm:cxn modelId="{931BA089-B24A-4C60-80C4-BF57D66A39C3}" type="presOf" srcId="{9D90DD98-3C6C-481C-9A3D-FFC91BCB102F}" destId="{3209A703-0A9B-4F61-B120-013F7EA5E6CC}" srcOrd="0" destOrd="0" presId="urn:microsoft.com/office/officeart/2005/8/layout/list1"/>
    <dgm:cxn modelId="{42452CF3-7FBA-4683-B2A1-7BB13ACAF9B4}" type="presOf" srcId="{7610491B-E0EF-4963-B9B2-B0F78C709679}" destId="{D7992E99-004B-4E08-A89B-E305F9B2CEF5}" srcOrd="1" destOrd="0" presId="urn:microsoft.com/office/officeart/2005/8/layout/list1"/>
    <dgm:cxn modelId="{DFD67FBD-26C9-4E0E-8CF6-2A70355DA61F}" type="presOf" srcId="{E565F4BC-725E-48FD-9DCC-468F3900A8C2}" destId="{720EF234-4103-44C0-9B67-5FE09806688D}" srcOrd="1" destOrd="0" presId="urn:microsoft.com/office/officeart/2005/8/layout/list1"/>
    <dgm:cxn modelId="{C524C390-F3B1-4F1F-8764-9463B3401455}" type="presOf" srcId="{E565F4BC-725E-48FD-9DCC-468F3900A8C2}" destId="{6E958523-A6CF-4B04-ADB7-8C38DD953565}" srcOrd="0" destOrd="0" presId="urn:microsoft.com/office/officeart/2005/8/layout/list1"/>
    <dgm:cxn modelId="{DC2AFD7D-D87D-40DC-96C9-0124D073AB01}" type="presParOf" srcId="{3209A703-0A9B-4F61-B120-013F7EA5E6CC}" destId="{5F86B4A7-5E1E-42B2-9B3A-18BF868096BA}" srcOrd="0" destOrd="0" presId="urn:microsoft.com/office/officeart/2005/8/layout/list1"/>
    <dgm:cxn modelId="{0137D928-04B3-408F-B214-857E36663908}" type="presParOf" srcId="{5F86B4A7-5E1E-42B2-9B3A-18BF868096BA}" destId="{6E958523-A6CF-4B04-ADB7-8C38DD953565}" srcOrd="0" destOrd="0" presId="urn:microsoft.com/office/officeart/2005/8/layout/list1"/>
    <dgm:cxn modelId="{FB49FDC1-310F-411A-B3A9-468F47E7F338}" type="presParOf" srcId="{5F86B4A7-5E1E-42B2-9B3A-18BF868096BA}" destId="{720EF234-4103-44C0-9B67-5FE09806688D}" srcOrd="1" destOrd="0" presId="urn:microsoft.com/office/officeart/2005/8/layout/list1"/>
    <dgm:cxn modelId="{7B2F7E75-AD9E-44E9-9A3D-9ED89ED359CD}" type="presParOf" srcId="{3209A703-0A9B-4F61-B120-013F7EA5E6CC}" destId="{F74703D4-6357-4A35-A1F9-0CB323790CA5}" srcOrd="1" destOrd="0" presId="urn:microsoft.com/office/officeart/2005/8/layout/list1"/>
    <dgm:cxn modelId="{C6988506-15F6-46C1-AF53-7FAA8FA0BF91}" type="presParOf" srcId="{3209A703-0A9B-4F61-B120-013F7EA5E6CC}" destId="{89604E71-B4AE-40F9-8B2D-D364C9195C3A}" srcOrd="2" destOrd="0" presId="urn:microsoft.com/office/officeart/2005/8/layout/list1"/>
    <dgm:cxn modelId="{6D17299F-B691-40C6-AC07-31563FAF73ED}" type="presParOf" srcId="{3209A703-0A9B-4F61-B120-013F7EA5E6CC}" destId="{462AA726-0074-4E96-81A9-A78E9DF8ACA1}" srcOrd="3" destOrd="0" presId="urn:microsoft.com/office/officeart/2005/8/layout/list1"/>
    <dgm:cxn modelId="{10C5DEFE-9ADA-4F05-988C-4F942FF5E7EA}" type="presParOf" srcId="{3209A703-0A9B-4F61-B120-013F7EA5E6CC}" destId="{C3D257BB-F977-45AD-9764-3562E021E406}" srcOrd="4" destOrd="0" presId="urn:microsoft.com/office/officeart/2005/8/layout/list1"/>
    <dgm:cxn modelId="{D1DCA47B-13BA-4979-9FE5-2ABE2ADED025}" type="presParOf" srcId="{C3D257BB-F977-45AD-9764-3562E021E406}" destId="{E78A8904-8F2D-4A67-9A45-12258DACD6B4}" srcOrd="0" destOrd="0" presId="urn:microsoft.com/office/officeart/2005/8/layout/list1"/>
    <dgm:cxn modelId="{805545BE-3E9D-4EE1-96F5-73FC19452CF9}" type="presParOf" srcId="{C3D257BB-F977-45AD-9764-3562E021E406}" destId="{D7992E99-004B-4E08-A89B-E305F9B2CEF5}" srcOrd="1" destOrd="0" presId="urn:microsoft.com/office/officeart/2005/8/layout/list1"/>
    <dgm:cxn modelId="{D8ACF5E0-C276-43E3-BD7F-6561F409D4FD}" type="presParOf" srcId="{3209A703-0A9B-4F61-B120-013F7EA5E6CC}" destId="{F9F5779A-35FB-4B99-AC06-66BE92C9F1FD}" srcOrd="5" destOrd="0" presId="urn:microsoft.com/office/officeart/2005/8/layout/list1"/>
    <dgm:cxn modelId="{39E0276C-1E4C-4349-93E7-82830D776E57}" type="presParOf" srcId="{3209A703-0A9B-4F61-B120-013F7EA5E6CC}" destId="{35A7A079-95CF-4F63-A7B7-E72D7AE79646}" srcOrd="6" destOrd="0" presId="urn:microsoft.com/office/officeart/2005/8/layout/list1"/>
    <dgm:cxn modelId="{947B2497-FF4F-4A11-812C-4F77CEAD3C23}" type="presParOf" srcId="{3209A703-0A9B-4F61-B120-013F7EA5E6CC}" destId="{E1DFF441-BD80-4346-ADBC-B5F891BD1F8E}" srcOrd="7" destOrd="0" presId="urn:microsoft.com/office/officeart/2005/8/layout/list1"/>
    <dgm:cxn modelId="{99929503-C28E-4048-A493-F56E88E83241}" type="presParOf" srcId="{3209A703-0A9B-4F61-B120-013F7EA5E6CC}" destId="{DCE034D9-ABC4-4387-B65A-7A31CAC91C0D}" srcOrd="8" destOrd="0" presId="urn:microsoft.com/office/officeart/2005/8/layout/list1"/>
    <dgm:cxn modelId="{029B363A-4F3B-470E-A71E-83264320C0F0}" type="presParOf" srcId="{DCE034D9-ABC4-4387-B65A-7A31CAC91C0D}" destId="{C4C30A87-324C-49DA-9949-923BFEE3964B}" srcOrd="0" destOrd="0" presId="urn:microsoft.com/office/officeart/2005/8/layout/list1"/>
    <dgm:cxn modelId="{637CD15C-E5CE-49B6-B751-11D9D5D4CBAC}" type="presParOf" srcId="{DCE034D9-ABC4-4387-B65A-7A31CAC91C0D}" destId="{7A39A20E-659C-47DE-A87A-F3F0FB2D519C}" srcOrd="1" destOrd="0" presId="urn:microsoft.com/office/officeart/2005/8/layout/list1"/>
    <dgm:cxn modelId="{C86B5846-0C34-4C74-97C5-C4F559E16B13}" type="presParOf" srcId="{3209A703-0A9B-4F61-B120-013F7EA5E6CC}" destId="{F6153B56-CFDA-4567-8B0B-6F6319469853}" srcOrd="9" destOrd="0" presId="urn:microsoft.com/office/officeart/2005/8/layout/list1"/>
    <dgm:cxn modelId="{1E907696-DD21-45AA-B269-B3C973B90341}" type="presParOf" srcId="{3209A703-0A9B-4F61-B120-013F7EA5E6CC}" destId="{8FF65649-2E91-47AD-B1E0-AF006D3A00BA}" srcOrd="10" destOrd="0" presId="urn:microsoft.com/office/officeart/2005/8/layout/list1"/>
    <dgm:cxn modelId="{C0553CBF-A337-477B-AAAD-00F063FB5CE4}" type="presParOf" srcId="{3209A703-0A9B-4F61-B120-013F7EA5E6CC}" destId="{5CD718BA-9143-4208-91E1-AF2BE60B9761}" srcOrd="11" destOrd="0" presId="urn:microsoft.com/office/officeart/2005/8/layout/list1"/>
    <dgm:cxn modelId="{469776D4-B143-4182-A6ED-613A21702535}" type="presParOf" srcId="{3209A703-0A9B-4F61-B120-013F7EA5E6CC}" destId="{C31460D6-B304-42DE-B22F-2C3E0FE472AA}" srcOrd="12" destOrd="0" presId="urn:microsoft.com/office/officeart/2005/8/layout/list1"/>
    <dgm:cxn modelId="{FACCF412-18E3-4B1B-BF36-C2F603214940}" type="presParOf" srcId="{C31460D6-B304-42DE-B22F-2C3E0FE472AA}" destId="{F6645AF5-6928-4972-9364-85FE169CB79D}" srcOrd="0" destOrd="0" presId="urn:microsoft.com/office/officeart/2005/8/layout/list1"/>
    <dgm:cxn modelId="{7C8E6814-7033-4070-A655-6B1C1211483F}" type="presParOf" srcId="{C31460D6-B304-42DE-B22F-2C3E0FE472AA}" destId="{8EB0C7EE-6E15-4F7D-9481-4A537750CCA1}" srcOrd="1" destOrd="0" presId="urn:microsoft.com/office/officeart/2005/8/layout/list1"/>
    <dgm:cxn modelId="{FBFF6F1A-7A38-4F39-A4D6-76E0583A2C27}" type="presParOf" srcId="{3209A703-0A9B-4F61-B120-013F7EA5E6CC}" destId="{04164144-1980-4ED3-A0BB-DF269629F2EF}" srcOrd="13" destOrd="0" presId="urn:microsoft.com/office/officeart/2005/8/layout/list1"/>
    <dgm:cxn modelId="{0D264F3E-7948-47F5-8B16-3EFFFF583617}" type="presParOf" srcId="{3209A703-0A9B-4F61-B120-013F7EA5E6CC}" destId="{CE73DAB3-A00F-4D4A-B018-B4C58961A340}"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333CDF-CD45-46D5-AF28-0648DAE42A8B}" type="doc">
      <dgm:prSet loTypeId="urn:microsoft.com/office/officeart/2005/8/layout/hList2" loCatId="list" qsTypeId="urn:microsoft.com/office/officeart/2005/8/quickstyle/simple5" qsCatId="simple" csTypeId="urn:microsoft.com/office/officeart/2005/8/colors/accent1_2" csCatId="accent1" phldr="1"/>
      <dgm:spPr/>
      <dgm:t>
        <a:bodyPr/>
        <a:lstStyle/>
        <a:p>
          <a:endParaRPr lang="de-DE"/>
        </a:p>
      </dgm:t>
    </dgm:pt>
    <dgm:pt modelId="{7B9B1C45-BCDB-4285-93FF-BA20B251F407}">
      <dgm:prSet phldrT="[Text]"/>
      <dgm:spPr/>
      <dgm:t>
        <a:bodyPr/>
        <a:lstStyle/>
        <a:p>
          <a:r>
            <a:rPr lang="de-DE" dirty="0" smtClean="0"/>
            <a:t>Ökonomie</a:t>
          </a:r>
          <a:endParaRPr lang="de-DE" dirty="0"/>
        </a:p>
      </dgm:t>
    </dgm:pt>
    <dgm:pt modelId="{9E6E8E34-0819-489D-B612-78851CC1472D}" type="parTrans" cxnId="{D2CB6281-A272-4083-900C-0E8CAB6C420B}">
      <dgm:prSet/>
      <dgm:spPr/>
      <dgm:t>
        <a:bodyPr/>
        <a:lstStyle/>
        <a:p>
          <a:endParaRPr lang="de-DE"/>
        </a:p>
      </dgm:t>
    </dgm:pt>
    <dgm:pt modelId="{5C9B3A04-4228-4EF6-8E4C-7259C13440D0}" type="sibTrans" cxnId="{D2CB6281-A272-4083-900C-0E8CAB6C420B}">
      <dgm:prSet/>
      <dgm:spPr/>
      <dgm:t>
        <a:bodyPr/>
        <a:lstStyle/>
        <a:p>
          <a:endParaRPr lang="de-DE"/>
        </a:p>
      </dgm:t>
    </dgm:pt>
    <dgm:pt modelId="{21F43FA4-49CB-4F35-ABA6-0627ECBE4E8C}">
      <dgm:prSet phldrT="[Text]" custT="1"/>
      <dgm:spPr/>
      <dgm:t>
        <a:bodyPr/>
        <a:lstStyle/>
        <a:p>
          <a:r>
            <a:rPr lang="de-DE" sz="1600" b="0" dirty="0" smtClean="0"/>
            <a:t>Wirtschaftliche Leistung</a:t>
          </a:r>
          <a:endParaRPr lang="de-DE" sz="1600" b="0" dirty="0"/>
        </a:p>
      </dgm:t>
    </dgm:pt>
    <dgm:pt modelId="{2C87D8AF-82F0-4FC5-8E4B-E1D3A9B2454A}" type="parTrans" cxnId="{258E9D8D-7122-47CB-8C32-7BB491EEFC70}">
      <dgm:prSet/>
      <dgm:spPr/>
      <dgm:t>
        <a:bodyPr/>
        <a:lstStyle/>
        <a:p>
          <a:endParaRPr lang="de-DE"/>
        </a:p>
      </dgm:t>
    </dgm:pt>
    <dgm:pt modelId="{97BCF02C-8A8F-4153-AD2E-1321277D41C9}" type="sibTrans" cxnId="{258E9D8D-7122-47CB-8C32-7BB491EEFC70}">
      <dgm:prSet/>
      <dgm:spPr/>
      <dgm:t>
        <a:bodyPr/>
        <a:lstStyle/>
        <a:p>
          <a:endParaRPr lang="de-DE"/>
        </a:p>
      </dgm:t>
    </dgm:pt>
    <dgm:pt modelId="{22899AED-C78D-432D-BE8A-ED1AAA40EE59}">
      <dgm:prSet phldrT="[Text]" custT="1"/>
      <dgm:spPr/>
      <dgm:t>
        <a:bodyPr/>
        <a:lstStyle/>
        <a:p>
          <a:r>
            <a:rPr lang="de-DE" sz="1600" b="0" dirty="0" smtClean="0"/>
            <a:t>Marktpräsenz</a:t>
          </a:r>
          <a:endParaRPr lang="de-DE" sz="1600" b="0" dirty="0"/>
        </a:p>
      </dgm:t>
    </dgm:pt>
    <dgm:pt modelId="{61EFC030-777D-4E53-9A22-812F9C8C9F4A}" type="parTrans" cxnId="{3E3FE1B9-BA62-4B07-A72B-A7985BA1FE6F}">
      <dgm:prSet/>
      <dgm:spPr/>
      <dgm:t>
        <a:bodyPr/>
        <a:lstStyle/>
        <a:p>
          <a:endParaRPr lang="de-DE"/>
        </a:p>
      </dgm:t>
    </dgm:pt>
    <dgm:pt modelId="{FA46F491-B2DC-4286-8906-4E78FF78439C}" type="sibTrans" cxnId="{3E3FE1B9-BA62-4B07-A72B-A7985BA1FE6F}">
      <dgm:prSet/>
      <dgm:spPr/>
      <dgm:t>
        <a:bodyPr/>
        <a:lstStyle/>
        <a:p>
          <a:endParaRPr lang="de-DE"/>
        </a:p>
      </dgm:t>
    </dgm:pt>
    <dgm:pt modelId="{8F585B64-7D8F-4894-97D7-AEAFF2F9E2F4}">
      <dgm:prSet phldrT="[Text]"/>
      <dgm:spPr/>
      <dgm:t>
        <a:bodyPr/>
        <a:lstStyle/>
        <a:p>
          <a:r>
            <a:rPr lang="de-DE" dirty="0" smtClean="0"/>
            <a:t>Ökologie</a:t>
          </a:r>
          <a:endParaRPr lang="de-DE" dirty="0"/>
        </a:p>
      </dgm:t>
    </dgm:pt>
    <dgm:pt modelId="{65DAF9A4-0A2A-439F-8D14-AD2324674E06}" type="parTrans" cxnId="{CC84A6D3-497C-453D-AF27-E48F7EC5E647}">
      <dgm:prSet/>
      <dgm:spPr/>
      <dgm:t>
        <a:bodyPr/>
        <a:lstStyle/>
        <a:p>
          <a:endParaRPr lang="de-DE"/>
        </a:p>
      </dgm:t>
    </dgm:pt>
    <dgm:pt modelId="{4D843FF9-4A8D-4165-81DA-F16C8D1EC969}" type="sibTrans" cxnId="{CC84A6D3-497C-453D-AF27-E48F7EC5E647}">
      <dgm:prSet/>
      <dgm:spPr/>
      <dgm:t>
        <a:bodyPr/>
        <a:lstStyle/>
        <a:p>
          <a:endParaRPr lang="de-DE"/>
        </a:p>
      </dgm:t>
    </dgm:pt>
    <dgm:pt modelId="{8EDF5676-1B66-4E4E-8A80-961F40E4C115}">
      <dgm:prSet phldrT="[Text]" custT="1"/>
      <dgm:spPr/>
      <dgm:t>
        <a:bodyPr/>
        <a:lstStyle/>
        <a:p>
          <a:r>
            <a:rPr lang="de-DE" sz="1600" b="0" dirty="0" smtClean="0"/>
            <a:t>Materialien</a:t>
          </a:r>
          <a:endParaRPr lang="de-DE" sz="1600" b="0" dirty="0"/>
        </a:p>
      </dgm:t>
    </dgm:pt>
    <dgm:pt modelId="{D476091F-83D5-4A80-B7F8-BE7CCC75C611}" type="parTrans" cxnId="{972C1779-3FFD-45AF-926A-240C21B48221}">
      <dgm:prSet/>
      <dgm:spPr/>
      <dgm:t>
        <a:bodyPr/>
        <a:lstStyle/>
        <a:p>
          <a:endParaRPr lang="de-DE"/>
        </a:p>
      </dgm:t>
    </dgm:pt>
    <dgm:pt modelId="{D5E9361C-588E-4E51-A4BD-88F1896D4AAF}" type="sibTrans" cxnId="{972C1779-3FFD-45AF-926A-240C21B48221}">
      <dgm:prSet/>
      <dgm:spPr/>
      <dgm:t>
        <a:bodyPr/>
        <a:lstStyle/>
        <a:p>
          <a:endParaRPr lang="de-DE"/>
        </a:p>
      </dgm:t>
    </dgm:pt>
    <dgm:pt modelId="{65E94712-638F-4E43-AABE-D718F9051061}">
      <dgm:prSet phldrT="[Text]" custT="1"/>
      <dgm:spPr/>
      <dgm:t>
        <a:bodyPr/>
        <a:lstStyle/>
        <a:p>
          <a:r>
            <a:rPr lang="de-DE" sz="1600" b="0" dirty="0" smtClean="0"/>
            <a:t>Energie</a:t>
          </a:r>
          <a:endParaRPr lang="de-DE" sz="1600" b="0" dirty="0"/>
        </a:p>
      </dgm:t>
    </dgm:pt>
    <dgm:pt modelId="{21AB91D9-7B52-466C-8BD1-437402C5F41F}" type="parTrans" cxnId="{3F1F00B7-7D5B-4A5A-B7AC-AE442F79483B}">
      <dgm:prSet/>
      <dgm:spPr/>
      <dgm:t>
        <a:bodyPr/>
        <a:lstStyle/>
        <a:p>
          <a:endParaRPr lang="de-DE"/>
        </a:p>
      </dgm:t>
    </dgm:pt>
    <dgm:pt modelId="{518FA53E-92B8-42DA-A96F-3C6CF22F4C13}" type="sibTrans" cxnId="{3F1F00B7-7D5B-4A5A-B7AC-AE442F79483B}">
      <dgm:prSet/>
      <dgm:spPr/>
      <dgm:t>
        <a:bodyPr/>
        <a:lstStyle/>
        <a:p>
          <a:endParaRPr lang="de-DE"/>
        </a:p>
      </dgm:t>
    </dgm:pt>
    <dgm:pt modelId="{1E9C7F83-D2DB-44CE-B4E0-8D51F8958183}">
      <dgm:prSet phldrT="[Text]"/>
      <dgm:spPr/>
      <dgm:t>
        <a:bodyPr/>
        <a:lstStyle/>
        <a:p>
          <a:r>
            <a:rPr lang="de-DE" dirty="0" smtClean="0"/>
            <a:t>Soziales</a:t>
          </a:r>
          <a:endParaRPr lang="de-DE" dirty="0"/>
        </a:p>
      </dgm:t>
    </dgm:pt>
    <dgm:pt modelId="{334BCB1A-40BC-470A-9868-DFB2D0732463}" type="parTrans" cxnId="{D51A03D2-D56A-4E6F-BF96-91B45CBEA8CE}">
      <dgm:prSet/>
      <dgm:spPr/>
      <dgm:t>
        <a:bodyPr/>
        <a:lstStyle/>
        <a:p>
          <a:endParaRPr lang="de-DE"/>
        </a:p>
      </dgm:t>
    </dgm:pt>
    <dgm:pt modelId="{20D75A48-7FCE-4ABA-9BD0-803EADB18DF3}" type="sibTrans" cxnId="{D51A03D2-D56A-4E6F-BF96-91B45CBEA8CE}">
      <dgm:prSet/>
      <dgm:spPr/>
      <dgm:t>
        <a:bodyPr/>
        <a:lstStyle/>
        <a:p>
          <a:endParaRPr lang="de-DE"/>
        </a:p>
      </dgm:t>
    </dgm:pt>
    <dgm:pt modelId="{B7743F9A-D0D7-40BF-B0D3-7AD416742198}">
      <dgm:prSet phldrT="[Text]" custT="1"/>
      <dgm:spPr/>
      <dgm:t>
        <a:bodyPr/>
        <a:lstStyle/>
        <a:p>
          <a:r>
            <a:rPr lang="de-DE" sz="1200" b="1" dirty="0" smtClean="0"/>
            <a:t>Beschäftigung</a:t>
          </a:r>
          <a:endParaRPr lang="de-DE" sz="1200" dirty="0"/>
        </a:p>
      </dgm:t>
    </dgm:pt>
    <dgm:pt modelId="{D41D4CBA-5BA8-4147-872E-85D59E50650C}" type="parTrans" cxnId="{E8CB3F68-FF02-4157-8654-AA14C726277A}">
      <dgm:prSet/>
      <dgm:spPr/>
      <dgm:t>
        <a:bodyPr/>
        <a:lstStyle/>
        <a:p>
          <a:endParaRPr lang="de-DE"/>
        </a:p>
      </dgm:t>
    </dgm:pt>
    <dgm:pt modelId="{375F07E2-11FA-4087-A864-36AD452C8CD5}" type="sibTrans" cxnId="{E8CB3F68-FF02-4157-8654-AA14C726277A}">
      <dgm:prSet/>
      <dgm:spPr/>
      <dgm:t>
        <a:bodyPr/>
        <a:lstStyle/>
        <a:p>
          <a:endParaRPr lang="de-DE"/>
        </a:p>
      </dgm:t>
    </dgm:pt>
    <dgm:pt modelId="{346F3752-56D8-4C4C-8A42-82577A348977}">
      <dgm:prSet phldrT="[Text]" custT="1"/>
      <dgm:spPr/>
      <dgm:t>
        <a:bodyPr/>
        <a:lstStyle/>
        <a:p>
          <a:r>
            <a:rPr lang="de-DE" sz="1200" b="1" dirty="0" smtClean="0"/>
            <a:t>Arbeitnehmer-Arbeitgeber-Verhältnis</a:t>
          </a:r>
          <a:endParaRPr lang="de-DE" sz="1200" dirty="0"/>
        </a:p>
      </dgm:t>
    </dgm:pt>
    <dgm:pt modelId="{AD18350C-2408-4CF2-9F17-29197F43FA3B}" type="parTrans" cxnId="{5234216C-76A8-40A5-AEE6-40C9EB7DC2F6}">
      <dgm:prSet/>
      <dgm:spPr/>
      <dgm:t>
        <a:bodyPr/>
        <a:lstStyle/>
        <a:p>
          <a:endParaRPr lang="de-DE"/>
        </a:p>
      </dgm:t>
    </dgm:pt>
    <dgm:pt modelId="{17493B8C-563E-4CC9-8E45-2BD79E4F1340}" type="sibTrans" cxnId="{5234216C-76A8-40A5-AEE6-40C9EB7DC2F6}">
      <dgm:prSet/>
      <dgm:spPr/>
      <dgm:t>
        <a:bodyPr/>
        <a:lstStyle/>
        <a:p>
          <a:endParaRPr lang="de-DE"/>
        </a:p>
      </dgm:t>
    </dgm:pt>
    <dgm:pt modelId="{2776DDA5-8657-47CF-9830-A32F747C6486}">
      <dgm:prSet phldrT="[Text]" custT="1"/>
      <dgm:spPr/>
      <dgm:t>
        <a:bodyPr/>
        <a:lstStyle/>
        <a:p>
          <a:r>
            <a:rPr lang="de-DE" sz="1600" b="0" dirty="0" smtClean="0"/>
            <a:t>Indirekte ökonomische Auswirkungen</a:t>
          </a:r>
          <a:endParaRPr lang="de-DE" sz="1600" b="0" dirty="0"/>
        </a:p>
      </dgm:t>
    </dgm:pt>
    <dgm:pt modelId="{F29CC38A-97BA-4E3F-9D0F-09AC2A7E6D51}" type="parTrans" cxnId="{40383136-5AFB-43A6-8079-DFE1AD7BF3CB}">
      <dgm:prSet/>
      <dgm:spPr/>
      <dgm:t>
        <a:bodyPr/>
        <a:lstStyle/>
        <a:p>
          <a:endParaRPr lang="de-DE"/>
        </a:p>
      </dgm:t>
    </dgm:pt>
    <dgm:pt modelId="{172CDEAC-AC32-4D43-AC48-5F791ACE72D4}" type="sibTrans" cxnId="{40383136-5AFB-43A6-8079-DFE1AD7BF3CB}">
      <dgm:prSet/>
      <dgm:spPr/>
      <dgm:t>
        <a:bodyPr/>
        <a:lstStyle/>
        <a:p>
          <a:endParaRPr lang="de-DE"/>
        </a:p>
      </dgm:t>
    </dgm:pt>
    <dgm:pt modelId="{911AE174-7077-430C-8497-B113683F84C9}">
      <dgm:prSet phldrT="[Text]" custT="1"/>
      <dgm:spPr/>
      <dgm:t>
        <a:bodyPr/>
        <a:lstStyle/>
        <a:p>
          <a:r>
            <a:rPr lang="de-DE" sz="1600" b="0" dirty="0" smtClean="0"/>
            <a:t>Beschaffungspraktiken</a:t>
          </a:r>
          <a:endParaRPr lang="de-DE" sz="1600" b="0" dirty="0"/>
        </a:p>
      </dgm:t>
    </dgm:pt>
    <dgm:pt modelId="{BADACF07-D9BE-43CF-A8AC-33A0F6C8DE5B}" type="parTrans" cxnId="{9024C73D-73E7-437A-B217-72223CCC0060}">
      <dgm:prSet/>
      <dgm:spPr/>
      <dgm:t>
        <a:bodyPr/>
        <a:lstStyle/>
        <a:p>
          <a:endParaRPr lang="de-DE"/>
        </a:p>
      </dgm:t>
    </dgm:pt>
    <dgm:pt modelId="{61C9772D-3648-40DC-8414-582A11DEA391}" type="sibTrans" cxnId="{9024C73D-73E7-437A-B217-72223CCC0060}">
      <dgm:prSet/>
      <dgm:spPr/>
      <dgm:t>
        <a:bodyPr/>
        <a:lstStyle/>
        <a:p>
          <a:endParaRPr lang="de-DE"/>
        </a:p>
      </dgm:t>
    </dgm:pt>
    <dgm:pt modelId="{9F3EC7CE-80F6-4471-8040-F710F3E9A69B}">
      <dgm:prSet phldrT="[Text]" custT="1"/>
      <dgm:spPr/>
      <dgm:t>
        <a:bodyPr/>
        <a:lstStyle/>
        <a:p>
          <a:r>
            <a:rPr lang="de-DE" sz="1600" b="0" dirty="0" smtClean="0"/>
            <a:t>Korruptionsbekämpfung</a:t>
          </a:r>
          <a:endParaRPr lang="de-DE" sz="1600" b="0" dirty="0"/>
        </a:p>
      </dgm:t>
    </dgm:pt>
    <dgm:pt modelId="{404A2352-7690-445A-89C0-76A81C256B42}" type="parTrans" cxnId="{A1625C22-C916-4D56-9ED0-BE2B84337B18}">
      <dgm:prSet/>
      <dgm:spPr/>
      <dgm:t>
        <a:bodyPr/>
        <a:lstStyle/>
        <a:p>
          <a:endParaRPr lang="de-DE"/>
        </a:p>
      </dgm:t>
    </dgm:pt>
    <dgm:pt modelId="{074C52DE-DFC3-47E3-B1C4-EEDF1AC23B80}" type="sibTrans" cxnId="{A1625C22-C916-4D56-9ED0-BE2B84337B18}">
      <dgm:prSet/>
      <dgm:spPr/>
      <dgm:t>
        <a:bodyPr/>
        <a:lstStyle/>
        <a:p>
          <a:endParaRPr lang="de-DE"/>
        </a:p>
      </dgm:t>
    </dgm:pt>
    <dgm:pt modelId="{D2390BEE-67FD-4DA9-A1AB-99049DCDFDE9}">
      <dgm:prSet phldrT="[Text]" custT="1"/>
      <dgm:spPr/>
      <dgm:t>
        <a:bodyPr/>
        <a:lstStyle/>
        <a:p>
          <a:r>
            <a:rPr lang="de-DE" sz="1600" b="0" dirty="0" smtClean="0"/>
            <a:t>Wettbewerbswidriges Verhalten</a:t>
          </a:r>
          <a:endParaRPr lang="de-DE" sz="1600" b="0" dirty="0"/>
        </a:p>
      </dgm:t>
    </dgm:pt>
    <dgm:pt modelId="{0BFEA092-C2C4-420A-BC31-BCA08B87E48F}" type="parTrans" cxnId="{9F2F6F5C-486C-46A4-9566-42F5AE5146FE}">
      <dgm:prSet/>
      <dgm:spPr/>
      <dgm:t>
        <a:bodyPr/>
        <a:lstStyle/>
        <a:p>
          <a:endParaRPr lang="de-DE"/>
        </a:p>
      </dgm:t>
    </dgm:pt>
    <dgm:pt modelId="{99EF3BE6-2546-4F27-9343-A362FC95AB70}" type="sibTrans" cxnId="{9F2F6F5C-486C-46A4-9566-42F5AE5146FE}">
      <dgm:prSet/>
      <dgm:spPr/>
      <dgm:t>
        <a:bodyPr/>
        <a:lstStyle/>
        <a:p>
          <a:endParaRPr lang="de-DE"/>
        </a:p>
      </dgm:t>
    </dgm:pt>
    <dgm:pt modelId="{8417B1A5-5E90-4B78-8994-2428674962CD}">
      <dgm:prSet phldrT="[Text]" custT="1"/>
      <dgm:spPr/>
      <dgm:t>
        <a:bodyPr/>
        <a:lstStyle/>
        <a:p>
          <a:r>
            <a:rPr lang="de-DE" sz="1600" b="0" dirty="0" smtClean="0"/>
            <a:t>Wasser</a:t>
          </a:r>
          <a:endParaRPr lang="de-DE" sz="1600" b="0" dirty="0"/>
        </a:p>
      </dgm:t>
    </dgm:pt>
    <dgm:pt modelId="{2B8AE36D-2461-45EC-8E3B-A54191EC2B3B}" type="parTrans" cxnId="{2B32F896-E549-40B6-8BE0-2325A3A40169}">
      <dgm:prSet/>
      <dgm:spPr/>
      <dgm:t>
        <a:bodyPr/>
        <a:lstStyle/>
        <a:p>
          <a:endParaRPr lang="de-DE"/>
        </a:p>
      </dgm:t>
    </dgm:pt>
    <dgm:pt modelId="{B466C9E1-F373-4D19-A0D8-766B2CB90A3B}" type="sibTrans" cxnId="{2B32F896-E549-40B6-8BE0-2325A3A40169}">
      <dgm:prSet/>
      <dgm:spPr/>
      <dgm:t>
        <a:bodyPr/>
        <a:lstStyle/>
        <a:p>
          <a:endParaRPr lang="de-DE"/>
        </a:p>
      </dgm:t>
    </dgm:pt>
    <dgm:pt modelId="{34D142AF-0A82-4B16-85D2-4F47A2E20011}">
      <dgm:prSet phldrT="[Text]" custT="1"/>
      <dgm:spPr/>
      <dgm:t>
        <a:bodyPr/>
        <a:lstStyle/>
        <a:p>
          <a:r>
            <a:rPr lang="de-DE" sz="1600" b="0" dirty="0" smtClean="0"/>
            <a:t>Biodiversität</a:t>
          </a:r>
          <a:endParaRPr lang="de-DE" sz="1600" b="0" dirty="0"/>
        </a:p>
      </dgm:t>
    </dgm:pt>
    <dgm:pt modelId="{1AECE842-6B76-4104-9D4F-62CBB2B5B8E5}" type="parTrans" cxnId="{0BA99223-3FE1-4345-B7D4-50BF5C60C480}">
      <dgm:prSet/>
      <dgm:spPr/>
      <dgm:t>
        <a:bodyPr/>
        <a:lstStyle/>
        <a:p>
          <a:endParaRPr lang="de-DE"/>
        </a:p>
      </dgm:t>
    </dgm:pt>
    <dgm:pt modelId="{9704CDA1-6429-49DA-A7FA-F24ABA6AF240}" type="sibTrans" cxnId="{0BA99223-3FE1-4345-B7D4-50BF5C60C480}">
      <dgm:prSet/>
      <dgm:spPr/>
      <dgm:t>
        <a:bodyPr/>
        <a:lstStyle/>
        <a:p>
          <a:endParaRPr lang="de-DE"/>
        </a:p>
      </dgm:t>
    </dgm:pt>
    <dgm:pt modelId="{819FBA8C-2702-4079-9B42-4F1C8CBA366E}">
      <dgm:prSet phldrT="[Text]" custT="1"/>
      <dgm:spPr/>
      <dgm:t>
        <a:bodyPr/>
        <a:lstStyle/>
        <a:p>
          <a:r>
            <a:rPr lang="de-DE" sz="1600" b="0" dirty="0" smtClean="0"/>
            <a:t>Emissionen</a:t>
          </a:r>
          <a:endParaRPr lang="de-DE" sz="1600" b="0" dirty="0"/>
        </a:p>
      </dgm:t>
    </dgm:pt>
    <dgm:pt modelId="{CD8E163A-DED1-45AA-A0CC-E5A5D40D7512}" type="parTrans" cxnId="{3DC0F6CC-0A5B-4C09-9297-D63256F4A457}">
      <dgm:prSet/>
      <dgm:spPr/>
      <dgm:t>
        <a:bodyPr/>
        <a:lstStyle/>
        <a:p>
          <a:endParaRPr lang="de-DE"/>
        </a:p>
      </dgm:t>
    </dgm:pt>
    <dgm:pt modelId="{391A4563-A4C6-4F0D-9011-4576E2FFF3F0}" type="sibTrans" cxnId="{3DC0F6CC-0A5B-4C09-9297-D63256F4A457}">
      <dgm:prSet/>
      <dgm:spPr/>
      <dgm:t>
        <a:bodyPr/>
        <a:lstStyle/>
        <a:p>
          <a:endParaRPr lang="de-DE"/>
        </a:p>
      </dgm:t>
    </dgm:pt>
    <dgm:pt modelId="{1E934029-3E44-4431-8999-9F8DBF092B4B}">
      <dgm:prSet phldrT="[Text]" custT="1"/>
      <dgm:spPr/>
      <dgm:t>
        <a:bodyPr/>
        <a:lstStyle/>
        <a:p>
          <a:r>
            <a:rPr lang="de-DE" sz="1600" b="0" dirty="0" smtClean="0"/>
            <a:t>Abwasser und Abfall</a:t>
          </a:r>
          <a:endParaRPr lang="de-DE" sz="1600" b="0" dirty="0"/>
        </a:p>
      </dgm:t>
    </dgm:pt>
    <dgm:pt modelId="{19B214E8-3063-43D9-8775-8EE0D09C6385}" type="parTrans" cxnId="{720F9A96-1E06-44CC-8543-D230A0D8DC37}">
      <dgm:prSet/>
      <dgm:spPr/>
      <dgm:t>
        <a:bodyPr/>
        <a:lstStyle/>
        <a:p>
          <a:endParaRPr lang="de-DE"/>
        </a:p>
      </dgm:t>
    </dgm:pt>
    <dgm:pt modelId="{6B4ED68B-7E91-4F9A-B4BB-4BB0D3EB4CC9}" type="sibTrans" cxnId="{720F9A96-1E06-44CC-8543-D230A0D8DC37}">
      <dgm:prSet/>
      <dgm:spPr/>
      <dgm:t>
        <a:bodyPr/>
        <a:lstStyle/>
        <a:p>
          <a:endParaRPr lang="de-DE"/>
        </a:p>
      </dgm:t>
    </dgm:pt>
    <dgm:pt modelId="{E38807E0-8FD4-4974-9EE7-913F0523D796}">
      <dgm:prSet phldrT="[Text]" custT="1"/>
      <dgm:spPr/>
      <dgm:t>
        <a:bodyPr/>
        <a:lstStyle/>
        <a:p>
          <a:r>
            <a:rPr lang="de-DE" sz="1600" b="0" dirty="0" smtClean="0"/>
            <a:t>Umwelt-Compliance</a:t>
          </a:r>
          <a:endParaRPr lang="de-DE" sz="1600" b="0" dirty="0"/>
        </a:p>
      </dgm:t>
    </dgm:pt>
    <dgm:pt modelId="{282108A8-4709-4E16-BB31-C8258930161C}" type="parTrans" cxnId="{9933953F-2360-4E8D-A6CD-5BE6B121F080}">
      <dgm:prSet/>
      <dgm:spPr/>
      <dgm:t>
        <a:bodyPr/>
        <a:lstStyle/>
        <a:p>
          <a:endParaRPr lang="de-DE"/>
        </a:p>
      </dgm:t>
    </dgm:pt>
    <dgm:pt modelId="{40BFF957-F558-4E9D-BD89-440388E7A7D8}" type="sibTrans" cxnId="{9933953F-2360-4E8D-A6CD-5BE6B121F080}">
      <dgm:prSet/>
      <dgm:spPr/>
      <dgm:t>
        <a:bodyPr/>
        <a:lstStyle/>
        <a:p>
          <a:endParaRPr lang="de-DE"/>
        </a:p>
      </dgm:t>
    </dgm:pt>
    <dgm:pt modelId="{2BF0EA6F-75CD-4B1B-94B0-1CECF78AFBE8}">
      <dgm:prSet phldrT="[Text]" custT="1"/>
      <dgm:spPr/>
      <dgm:t>
        <a:bodyPr/>
        <a:lstStyle/>
        <a:p>
          <a:r>
            <a:rPr lang="de-DE" sz="1600" b="0" dirty="0" smtClean="0"/>
            <a:t>Umweltbewertung der Lieferanten</a:t>
          </a:r>
          <a:endParaRPr lang="de-DE" sz="1600" b="0" dirty="0"/>
        </a:p>
      </dgm:t>
    </dgm:pt>
    <dgm:pt modelId="{1A0EE89A-1A04-4DFA-82B8-EC770BE26E32}" type="parTrans" cxnId="{007050EE-918F-4B10-8441-3B8B76C29A1A}">
      <dgm:prSet/>
      <dgm:spPr/>
      <dgm:t>
        <a:bodyPr/>
        <a:lstStyle/>
        <a:p>
          <a:endParaRPr lang="de-DE"/>
        </a:p>
      </dgm:t>
    </dgm:pt>
    <dgm:pt modelId="{0FBDA1F3-6B67-405C-A038-DEB60FDC300B}" type="sibTrans" cxnId="{007050EE-918F-4B10-8441-3B8B76C29A1A}">
      <dgm:prSet/>
      <dgm:spPr/>
      <dgm:t>
        <a:bodyPr/>
        <a:lstStyle/>
        <a:p>
          <a:endParaRPr lang="de-DE"/>
        </a:p>
      </dgm:t>
    </dgm:pt>
    <dgm:pt modelId="{70B5D843-E17E-466C-9E0A-3F6443666B81}">
      <dgm:prSet phldrT="[Text]" custT="1"/>
      <dgm:spPr/>
      <dgm:t>
        <a:bodyPr/>
        <a:lstStyle/>
        <a:p>
          <a:r>
            <a:rPr lang="de-DE" sz="1200" b="1" dirty="0" smtClean="0"/>
            <a:t>Arbeitssicherheit und Gesundheitsschutz</a:t>
          </a:r>
          <a:endParaRPr lang="de-DE" sz="1200" dirty="0"/>
        </a:p>
      </dgm:t>
    </dgm:pt>
    <dgm:pt modelId="{4CC6BD9A-CFE6-417F-89EE-C5AD55516086}" type="parTrans" cxnId="{DC1A0A39-B55B-49AD-AE44-B9181D50977B}">
      <dgm:prSet/>
      <dgm:spPr/>
      <dgm:t>
        <a:bodyPr/>
        <a:lstStyle/>
        <a:p>
          <a:endParaRPr lang="de-DE"/>
        </a:p>
      </dgm:t>
    </dgm:pt>
    <dgm:pt modelId="{8A798062-ABA4-4F56-A23E-1B4514623BDA}" type="sibTrans" cxnId="{DC1A0A39-B55B-49AD-AE44-B9181D50977B}">
      <dgm:prSet/>
      <dgm:spPr/>
      <dgm:t>
        <a:bodyPr/>
        <a:lstStyle/>
        <a:p>
          <a:endParaRPr lang="de-DE"/>
        </a:p>
      </dgm:t>
    </dgm:pt>
    <dgm:pt modelId="{AC0D1833-5A47-431D-BE12-33DBA862C7BE}">
      <dgm:prSet phldrT="[Text]" custT="1"/>
      <dgm:spPr/>
      <dgm:t>
        <a:bodyPr/>
        <a:lstStyle/>
        <a:p>
          <a:r>
            <a:rPr lang="de-DE" sz="1200" b="1" dirty="0" smtClean="0"/>
            <a:t>Aus- und Weiterbildung</a:t>
          </a:r>
          <a:endParaRPr lang="de-DE" sz="1200" dirty="0"/>
        </a:p>
      </dgm:t>
    </dgm:pt>
    <dgm:pt modelId="{4D2D1CC9-7E21-4445-B500-FD60167CC7C4}" type="parTrans" cxnId="{A07E451D-D4AB-48A9-9CE9-5CA55753B667}">
      <dgm:prSet/>
      <dgm:spPr/>
      <dgm:t>
        <a:bodyPr/>
        <a:lstStyle/>
        <a:p>
          <a:endParaRPr lang="de-DE"/>
        </a:p>
      </dgm:t>
    </dgm:pt>
    <dgm:pt modelId="{4DDE2179-B4E9-4167-B47C-064282E15266}" type="sibTrans" cxnId="{A07E451D-D4AB-48A9-9CE9-5CA55753B667}">
      <dgm:prSet/>
      <dgm:spPr/>
      <dgm:t>
        <a:bodyPr/>
        <a:lstStyle/>
        <a:p>
          <a:endParaRPr lang="de-DE"/>
        </a:p>
      </dgm:t>
    </dgm:pt>
    <dgm:pt modelId="{C3A69EC6-20B6-4089-A9AF-B12A88D432DE}">
      <dgm:prSet phldrT="[Text]" custT="1"/>
      <dgm:spPr/>
      <dgm:t>
        <a:bodyPr/>
        <a:lstStyle/>
        <a:p>
          <a:r>
            <a:rPr lang="de-DE" sz="1200" b="1" dirty="0" smtClean="0"/>
            <a:t>Diversität und Chancengleichheit</a:t>
          </a:r>
          <a:endParaRPr lang="de-DE" sz="1200" dirty="0"/>
        </a:p>
      </dgm:t>
    </dgm:pt>
    <dgm:pt modelId="{818CC7FF-C7EB-4DE2-AE89-AD7C4FDC4036}" type="parTrans" cxnId="{4C0657FE-830A-4BBA-B696-5A62B0F15924}">
      <dgm:prSet/>
      <dgm:spPr/>
      <dgm:t>
        <a:bodyPr/>
        <a:lstStyle/>
        <a:p>
          <a:endParaRPr lang="de-DE"/>
        </a:p>
      </dgm:t>
    </dgm:pt>
    <dgm:pt modelId="{47FA713E-FA83-42D3-B745-AFF316195DFD}" type="sibTrans" cxnId="{4C0657FE-830A-4BBA-B696-5A62B0F15924}">
      <dgm:prSet/>
      <dgm:spPr/>
      <dgm:t>
        <a:bodyPr/>
        <a:lstStyle/>
        <a:p>
          <a:endParaRPr lang="de-DE"/>
        </a:p>
      </dgm:t>
    </dgm:pt>
    <dgm:pt modelId="{40514275-51E0-4043-A60A-EA32BB73E7E8}">
      <dgm:prSet phldrT="[Text]" custT="1"/>
      <dgm:spPr/>
      <dgm:t>
        <a:bodyPr/>
        <a:lstStyle/>
        <a:p>
          <a:r>
            <a:rPr lang="de-DE" sz="1200" b="1" dirty="0" smtClean="0"/>
            <a:t>Diskriminierungsfreiheit</a:t>
          </a:r>
          <a:endParaRPr lang="de-DE" sz="1200" dirty="0"/>
        </a:p>
      </dgm:t>
    </dgm:pt>
    <dgm:pt modelId="{9112836C-8596-4875-84E2-8C9D8C272AA2}" type="parTrans" cxnId="{DD25BEA7-1502-4348-B61C-89DF6F8B1431}">
      <dgm:prSet/>
      <dgm:spPr/>
      <dgm:t>
        <a:bodyPr/>
        <a:lstStyle/>
        <a:p>
          <a:endParaRPr lang="de-DE"/>
        </a:p>
      </dgm:t>
    </dgm:pt>
    <dgm:pt modelId="{4F2C417A-4BA5-483E-982F-8D95403E60F5}" type="sibTrans" cxnId="{DD25BEA7-1502-4348-B61C-89DF6F8B1431}">
      <dgm:prSet/>
      <dgm:spPr/>
      <dgm:t>
        <a:bodyPr/>
        <a:lstStyle/>
        <a:p>
          <a:endParaRPr lang="de-DE"/>
        </a:p>
      </dgm:t>
    </dgm:pt>
    <dgm:pt modelId="{4D5F1E9C-B753-475F-A58E-8BB991DA05F9}">
      <dgm:prSet phldrT="[Text]" custT="1"/>
      <dgm:spPr/>
      <dgm:t>
        <a:bodyPr/>
        <a:lstStyle/>
        <a:p>
          <a:r>
            <a:rPr lang="de-DE" sz="1200" b="1" dirty="0" smtClean="0"/>
            <a:t>Vereinigungsfreiheit und Tarifverhandlungen</a:t>
          </a:r>
          <a:endParaRPr lang="de-DE" sz="1200" dirty="0"/>
        </a:p>
      </dgm:t>
    </dgm:pt>
    <dgm:pt modelId="{A5DB1114-FA36-4223-B89D-10F9103B5095}" type="parTrans" cxnId="{D002F32E-C134-4ECB-9D50-3886E3B07A28}">
      <dgm:prSet/>
      <dgm:spPr/>
      <dgm:t>
        <a:bodyPr/>
        <a:lstStyle/>
        <a:p>
          <a:endParaRPr lang="de-DE"/>
        </a:p>
      </dgm:t>
    </dgm:pt>
    <dgm:pt modelId="{D3F3D0DA-D2C2-482F-A1B4-E299D1F2DF1A}" type="sibTrans" cxnId="{D002F32E-C134-4ECB-9D50-3886E3B07A28}">
      <dgm:prSet/>
      <dgm:spPr/>
      <dgm:t>
        <a:bodyPr/>
        <a:lstStyle/>
        <a:p>
          <a:endParaRPr lang="de-DE"/>
        </a:p>
      </dgm:t>
    </dgm:pt>
    <dgm:pt modelId="{9DF93716-EB2A-4AE0-99E5-7A423AFAC185}">
      <dgm:prSet phldrT="[Text]" custT="1"/>
      <dgm:spPr/>
      <dgm:t>
        <a:bodyPr/>
        <a:lstStyle/>
        <a:p>
          <a:r>
            <a:rPr lang="de-DE" sz="1200" b="1" dirty="0" smtClean="0"/>
            <a:t>Kinderarbeit</a:t>
          </a:r>
          <a:endParaRPr lang="de-DE" sz="1200" dirty="0"/>
        </a:p>
      </dgm:t>
    </dgm:pt>
    <dgm:pt modelId="{66DDD0D5-2AE6-4C11-B653-33272D718424}" type="parTrans" cxnId="{F3A53E1B-0A2C-41F1-852D-41A3A81D1034}">
      <dgm:prSet/>
      <dgm:spPr/>
      <dgm:t>
        <a:bodyPr/>
        <a:lstStyle/>
        <a:p>
          <a:endParaRPr lang="de-DE"/>
        </a:p>
      </dgm:t>
    </dgm:pt>
    <dgm:pt modelId="{ADCFD177-5C1C-4962-B041-3204CF0B5B23}" type="sibTrans" cxnId="{F3A53E1B-0A2C-41F1-852D-41A3A81D1034}">
      <dgm:prSet/>
      <dgm:spPr/>
      <dgm:t>
        <a:bodyPr/>
        <a:lstStyle/>
        <a:p>
          <a:endParaRPr lang="de-DE"/>
        </a:p>
      </dgm:t>
    </dgm:pt>
    <dgm:pt modelId="{BC345DF0-361F-4135-8E62-8FD59345BC35}">
      <dgm:prSet phldrT="[Text]" custT="1"/>
      <dgm:spPr/>
      <dgm:t>
        <a:bodyPr/>
        <a:lstStyle/>
        <a:p>
          <a:r>
            <a:rPr lang="de-DE" sz="1200" b="1" dirty="0" smtClean="0"/>
            <a:t>Zwangs- oder Pflichtarbeit</a:t>
          </a:r>
          <a:endParaRPr lang="de-DE" sz="1200" dirty="0"/>
        </a:p>
      </dgm:t>
    </dgm:pt>
    <dgm:pt modelId="{5E7466F2-0DA9-4933-8A43-CD31FDA93EEB}" type="parTrans" cxnId="{718346B7-0EDB-4A1B-A825-671FB02C49B6}">
      <dgm:prSet/>
      <dgm:spPr/>
      <dgm:t>
        <a:bodyPr/>
        <a:lstStyle/>
        <a:p>
          <a:endParaRPr lang="de-DE"/>
        </a:p>
      </dgm:t>
    </dgm:pt>
    <dgm:pt modelId="{51FFB840-DB1F-4C37-9E68-029E747913BB}" type="sibTrans" cxnId="{718346B7-0EDB-4A1B-A825-671FB02C49B6}">
      <dgm:prSet/>
      <dgm:spPr/>
      <dgm:t>
        <a:bodyPr/>
        <a:lstStyle/>
        <a:p>
          <a:endParaRPr lang="de-DE"/>
        </a:p>
      </dgm:t>
    </dgm:pt>
    <dgm:pt modelId="{4C9776B9-DD6E-4B68-9813-0BB067F6987C}">
      <dgm:prSet phldrT="[Text]" custT="1"/>
      <dgm:spPr/>
      <dgm:t>
        <a:bodyPr/>
        <a:lstStyle/>
        <a:p>
          <a:r>
            <a:rPr lang="de-DE" sz="1200" b="1" dirty="0" smtClean="0"/>
            <a:t>Sicherheitspraktiken</a:t>
          </a:r>
          <a:endParaRPr lang="de-DE" sz="1200" dirty="0"/>
        </a:p>
      </dgm:t>
    </dgm:pt>
    <dgm:pt modelId="{BF930F8A-3255-4266-9CDF-26DB59384002}" type="parTrans" cxnId="{BFE626F4-C39A-448F-9853-21F46D59B21D}">
      <dgm:prSet/>
      <dgm:spPr/>
      <dgm:t>
        <a:bodyPr/>
        <a:lstStyle/>
        <a:p>
          <a:endParaRPr lang="de-DE"/>
        </a:p>
      </dgm:t>
    </dgm:pt>
    <dgm:pt modelId="{CE171EA8-81DB-4D2A-8ECA-645AB171C183}" type="sibTrans" cxnId="{BFE626F4-C39A-448F-9853-21F46D59B21D}">
      <dgm:prSet/>
      <dgm:spPr/>
      <dgm:t>
        <a:bodyPr/>
        <a:lstStyle/>
        <a:p>
          <a:endParaRPr lang="de-DE"/>
        </a:p>
      </dgm:t>
    </dgm:pt>
    <dgm:pt modelId="{E9EB48FA-2615-4BB5-BABA-11ED272592C4}">
      <dgm:prSet phldrT="[Text]" custT="1"/>
      <dgm:spPr/>
      <dgm:t>
        <a:bodyPr/>
        <a:lstStyle/>
        <a:p>
          <a:r>
            <a:rPr lang="de-DE" sz="1200" b="1" dirty="0" smtClean="0"/>
            <a:t>Rechte der indigenen Völker</a:t>
          </a:r>
          <a:endParaRPr lang="de-DE" sz="1200" dirty="0"/>
        </a:p>
      </dgm:t>
    </dgm:pt>
    <dgm:pt modelId="{044752B0-DF5B-4B5D-9FCC-EC18CA8EEA4F}" type="parTrans" cxnId="{80E9E4A6-2C0A-4688-AF8D-B910237426F6}">
      <dgm:prSet/>
      <dgm:spPr/>
      <dgm:t>
        <a:bodyPr/>
        <a:lstStyle/>
        <a:p>
          <a:endParaRPr lang="de-DE"/>
        </a:p>
      </dgm:t>
    </dgm:pt>
    <dgm:pt modelId="{29D84EDF-D533-4655-BD4C-30E7EBBE8052}" type="sibTrans" cxnId="{80E9E4A6-2C0A-4688-AF8D-B910237426F6}">
      <dgm:prSet/>
      <dgm:spPr/>
      <dgm:t>
        <a:bodyPr/>
        <a:lstStyle/>
        <a:p>
          <a:endParaRPr lang="de-DE"/>
        </a:p>
      </dgm:t>
    </dgm:pt>
    <dgm:pt modelId="{033D7C2C-3F4F-4C1B-89C0-4DCE3A50CFDF}">
      <dgm:prSet phldrT="[Text]" custT="1"/>
      <dgm:spPr/>
      <dgm:t>
        <a:bodyPr/>
        <a:lstStyle/>
        <a:p>
          <a:r>
            <a:rPr lang="de-DE" sz="1200" b="1" dirty="0" smtClean="0"/>
            <a:t>Prüfung auf Einhaltung der Menschenrechte</a:t>
          </a:r>
          <a:endParaRPr lang="de-DE" sz="1200" dirty="0"/>
        </a:p>
      </dgm:t>
    </dgm:pt>
    <dgm:pt modelId="{995C6D24-9C30-406F-B655-A9D88CA2D861}" type="parTrans" cxnId="{FAF3AAED-0109-47F5-9AB7-5C0075F2062E}">
      <dgm:prSet/>
      <dgm:spPr/>
      <dgm:t>
        <a:bodyPr/>
        <a:lstStyle/>
        <a:p>
          <a:endParaRPr lang="de-DE"/>
        </a:p>
      </dgm:t>
    </dgm:pt>
    <dgm:pt modelId="{C39521B3-F3B4-4548-BA60-6FE9928410BA}" type="sibTrans" cxnId="{FAF3AAED-0109-47F5-9AB7-5C0075F2062E}">
      <dgm:prSet/>
      <dgm:spPr/>
      <dgm:t>
        <a:bodyPr/>
        <a:lstStyle/>
        <a:p>
          <a:endParaRPr lang="de-DE"/>
        </a:p>
      </dgm:t>
    </dgm:pt>
    <dgm:pt modelId="{42972BE3-08A8-4276-AC0B-54D183FF4537}">
      <dgm:prSet phldrT="[Text]" custT="1"/>
      <dgm:spPr/>
      <dgm:t>
        <a:bodyPr/>
        <a:lstStyle/>
        <a:p>
          <a:r>
            <a:rPr lang="de-DE" sz="1200" b="1" dirty="0" smtClean="0"/>
            <a:t>Lokale Gemeinschaften</a:t>
          </a:r>
          <a:endParaRPr lang="de-DE" sz="1200" dirty="0"/>
        </a:p>
      </dgm:t>
    </dgm:pt>
    <dgm:pt modelId="{7D41708E-5706-4101-A417-6AD4937425EB}" type="parTrans" cxnId="{A4DEA924-06EC-4835-B06C-503AB06853FF}">
      <dgm:prSet/>
      <dgm:spPr/>
      <dgm:t>
        <a:bodyPr/>
        <a:lstStyle/>
        <a:p>
          <a:endParaRPr lang="de-DE"/>
        </a:p>
      </dgm:t>
    </dgm:pt>
    <dgm:pt modelId="{44CE107F-034A-476B-93D5-13305EB4F74B}" type="sibTrans" cxnId="{A4DEA924-06EC-4835-B06C-503AB06853FF}">
      <dgm:prSet/>
      <dgm:spPr/>
      <dgm:t>
        <a:bodyPr/>
        <a:lstStyle/>
        <a:p>
          <a:endParaRPr lang="de-DE"/>
        </a:p>
      </dgm:t>
    </dgm:pt>
    <dgm:pt modelId="{8E2041FE-0399-4DC6-BF08-94B770710C50}" type="pres">
      <dgm:prSet presAssocID="{35333CDF-CD45-46D5-AF28-0648DAE42A8B}" presName="linearFlow" presStyleCnt="0">
        <dgm:presLayoutVars>
          <dgm:dir/>
          <dgm:animLvl val="lvl"/>
          <dgm:resizeHandles/>
        </dgm:presLayoutVars>
      </dgm:prSet>
      <dgm:spPr/>
      <dgm:t>
        <a:bodyPr/>
        <a:lstStyle/>
        <a:p>
          <a:endParaRPr lang="de-DE"/>
        </a:p>
      </dgm:t>
    </dgm:pt>
    <dgm:pt modelId="{122AD1C8-4AED-4203-BCD5-8F063893A368}" type="pres">
      <dgm:prSet presAssocID="{7B9B1C45-BCDB-4285-93FF-BA20B251F407}" presName="compositeNode" presStyleCnt="0">
        <dgm:presLayoutVars>
          <dgm:bulletEnabled val="1"/>
        </dgm:presLayoutVars>
      </dgm:prSet>
      <dgm:spPr/>
    </dgm:pt>
    <dgm:pt modelId="{F165A5A1-5E32-4F7D-9219-30ED560DFEFB}" type="pres">
      <dgm:prSet presAssocID="{7B9B1C45-BCDB-4285-93FF-BA20B251F407}" presName="imag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pt>
    <dgm:pt modelId="{4FA02465-033A-44DB-85AA-DCA652155D9E}" type="pres">
      <dgm:prSet presAssocID="{7B9B1C45-BCDB-4285-93FF-BA20B251F407}" presName="childNode" presStyleLbl="node1" presStyleIdx="0" presStyleCnt="3">
        <dgm:presLayoutVars>
          <dgm:bulletEnabled val="1"/>
        </dgm:presLayoutVars>
      </dgm:prSet>
      <dgm:spPr/>
      <dgm:t>
        <a:bodyPr/>
        <a:lstStyle/>
        <a:p>
          <a:endParaRPr lang="de-DE"/>
        </a:p>
      </dgm:t>
    </dgm:pt>
    <dgm:pt modelId="{ABDA32BB-26F6-42BE-BFF4-E0728A237AAD}" type="pres">
      <dgm:prSet presAssocID="{7B9B1C45-BCDB-4285-93FF-BA20B251F407}" presName="parentNode" presStyleLbl="revTx" presStyleIdx="0" presStyleCnt="3">
        <dgm:presLayoutVars>
          <dgm:chMax val="0"/>
          <dgm:bulletEnabled val="1"/>
        </dgm:presLayoutVars>
      </dgm:prSet>
      <dgm:spPr/>
      <dgm:t>
        <a:bodyPr/>
        <a:lstStyle/>
        <a:p>
          <a:endParaRPr lang="de-DE"/>
        </a:p>
      </dgm:t>
    </dgm:pt>
    <dgm:pt modelId="{E11FD1D4-5E7F-413B-BFFE-2761E3AE1F32}" type="pres">
      <dgm:prSet presAssocID="{5C9B3A04-4228-4EF6-8E4C-7259C13440D0}" presName="sibTrans" presStyleCnt="0"/>
      <dgm:spPr/>
    </dgm:pt>
    <dgm:pt modelId="{5FC36B10-7B8F-4CD2-AB47-C92FE3A2B9D5}" type="pres">
      <dgm:prSet presAssocID="{8F585B64-7D8F-4894-97D7-AEAFF2F9E2F4}" presName="compositeNode" presStyleCnt="0">
        <dgm:presLayoutVars>
          <dgm:bulletEnabled val="1"/>
        </dgm:presLayoutVars>
      </dgm:prSet>
      <dgm:spPr/>
    </dgm:pt>
    <dgm:pt modelId="{B149565A-6CAE-4DC7-BC88-ADB18A5B4101}" type="pres">
      <dgm:prSet presAssocID="{8F585B64-7D8F-4894-97D7-AEAFF2F9E2F4}" presName="image" presStyleLbl="fgImgPlace1" presStyleIdx="1" presStyleCnt="3"/>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B61D8964-970A-4DDD-B082-768824C1FEA9}" type="pres">
      <dgm:prSet presAssocID="{8F585B64-7D8F-4894-97D7-AEAFF2F9E2F4}" presName="childNode" presStyleLbl="node1" presStyleIdx="1" presStyleCnt="3">
        <dgm:presLayoutVars>
          <dgm:bulletEnabled val="1"/>
        </dgm:presLayoutVars>
      </dgm:prSet>
      <dgm:spPr/>
      <dgm:t>
        <a:bodyPr/>
        <a:lstStyle/>
        <a:p>
          <a:endParaRPr lang="de-DE"/>
        </a:p>
      </dgm:t>
    </dgm:pt>
    <dgm:pt modelId="{D2494F50-8A22-411B-9A3E-D6BAB8B17F14}" type="pres">
      <dgm:prSet presAssocID="{8F585B64-7D8F-4894-97D7-AEAFF2F9E2F4}" presName="parentNode" presStyleLbl="revTx" presStyleIdx="1" presStyleCnt="3">
        <dgm:presLayoutVars>
          <dgm:chMax val="0"/>
          <dgm:bulletEnabled val="1"/>
        </dgm:presLayoutVars>
      </dgm:prSet>
      <dgm:spPr/>
      <dgm:t>
        <a:bodyPr/>
        <a:lstStyle/>
        <a:p>
          <a:endParaRPr lang="de-DE"/>
        </a:p>
      </dgm:t>
    </dgm:pt>
    <dgm:pt modelId="{8F15ED0C-AB9B-402F-98B5-CBADB5E4B0F7}" type="pres">
      <dgm:prSet presAssocID="{4D843FF9-4A8D-4165-81DA-F16C8D1EC969}" presName="sibTrans" presStyleCnt="0"/>
      <dgm:spPr/>
    </dgm:pt>
    <dgm:pt modelId="{24150F9F-B5D7-45EC-AEAB-7FD8E28484CA}" type="pres">
      <dgm:prSet presAssocID="{1E9C7F83-D2DB-44CE-B4E0-8D51F8958183}" presName="compositeNode" presStyleCnt="0">
        <dgm:presLayoutVars>
          <dgm:bulletEnabled val="1"/>
        </dgm:presLayoutVars>
      </dgm:prSet>
      <dgm:spPr/>
    </dgm:pt>
    <dgm:pt modelId="{43A81C98-9728-4356-80A9-410D82480300}" type="pres">
      <dgm:prSet presAssocID="{1E9C7F83-D2DB-44CE-B4E0-8D51F8958183}" presName="imag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dgm:spPr>
    </dgm:pt>
    <dgm:pt modelId="{0D33EBE5-ACE2-4431-9341-EE686C29B469}" type="pres">
      <dgm:prSet presAssocID="{1E9C7F83-D2DB-44CE-B4E0-8D51F8958183}" presName="childNode" presStyleLbl="node1" presStyleIdx="2" presStyleCnt="3">
        <dgm:presLayoutVars>
          <dgm:bulletEnabled val="1"/>
        </dgm:presLayoutVars>
      </dgm:prSet>
      <dgm:spPr/>
      <dgm:t>
        <a:bodyPr/>
        <a:lstStyle/>
        <a:p>
          <a:endParaRPr lang="de-DE"/>
        </a:p>
      </dgm:t>
    </dgm:pt>
    <dgm:pt modelId="{D164273B-0C1B-40D8-B8F7-8003561A58C7}" type="pres">
      <dgm:prSet presAssocID="{1E9C7F83-D2DB-44CE-B4E0-8D51F8958183}" presName="parentNode" presStyleLbl="revTx" presStyleIdx="2" presStyleCnt="3">
        <dgm:presLayoutVars>
          <dgm:chMax val="0"/>
          <dgm:bulletEnabled val="1"/>
        </dgm:presLayoutVars>
      </dgm:prSet>
      <dgm:spPr/>
      <dgm:t>
        <a:bodyPr/>
        <a:lstStyle/>
        <a:p>
          <a:endParaRPr lang="de-DE"/>
        </a:p>
      </dgm:t>
    </dgm:pt>
  </dgm:ptLst>
  <dgm:cxnLst>
    <dgm:cxn modelId="{434691FB-0A1E-45B2-8D3E-6037215718DC}" type="presOf" srcId="{2BF0EA6F-75CD-4B1B-94B0-1CECF78AFBE8}" destId="{B61D8964-970A-4DDD-B082-768824C1FEA9}" srcOrd="0" destOrd="7" presId="urn:microsoft.com/office/officeart/2005/8/layout/hList2"/>
    <dgm:cxn modelId="{E8CB3F68-FF02-4157-8654-AA14C726277A}" srcId="{1E9C7F83-D2DB-44CE-B4E0-8D51F8958183}" destId="{B7743F9A-D0D7-40BF-B0D3-7AD416742198}" srcOrd="0" destOrd="0" parTransId="{D41D4CBA-5BA8-4147-872E-85D59E50650C}" sibTransId="{375F07E2-11FA-4087-A864-36AD452C8CD5}"/>
    <dgm:cxn modelId="{D3100B5D-E805-45D5-9F94-18FFC205D17F}" type="presOf" srcId="{1E934029-3E44-4431-8999-9F8DBF092B4B}" destId="{B61D8964-970A-4DDD-B082-768824C1FEA9}" srcOrd="0" destOrd="5" presId="urn:microsoft.com/office/officeart/2005/8/layout/hList2"/>
    <dgm:cxn modelId="{9B0E94D8-4E79-40D8-B409-F3CB891364EF}" type="presOf" srcId="{819FBA8C-2702-4079-9B42-4F1C8CBA366E}" destId="{B61D8964-970A-4DDD-B082-768824C1FEA9}" srcOrd="0" destOrd="4" presId="urn:microsoft.com/office/officeart/2005/8/layout/hList2"/>
    <dgm:cxn modelId="{FAF3AAED-0109-47F5-9AB7-5C0075F2062E}" srcId="{1E9C7F83-D2DB-44CE-B4E0-8D51F8958183}" destId="{033D7C2C-3F4F-4C1B-89C0-4DCE3A50CFDF}" srcOrd="11" destOrd="0" parTransId="{995C6D24-9C30-406F-B655-A9D88CA2D861}" sibTransId="{C39521B3-F3B4-4548-BA60-6FE9928410BA}"/>
    <dgm:cxn modelId="{C35FB227-9B8E-43AE-B6D6-401917D9B569}" type="presOf" srcId="{E9EB48FA-2615-4BB5-BABA-11ED272592C4}" destId="{0D33EBE5-ACE2-4431-9341-EE686C29B469}" srcOrd="0" destOrd="10" presId="urn:microsoft.com/office/officeart/2005/8/layout/hList2"/>
    <dgm:cxn modelId="{A4DEA924-06EC-4835-B06C-503AB06853FF}" srcId="{1E9C7F83-D2DB-44CE-B4E0-8D51F8958183}" destId="{42972BE3-08A8-4276-AC0B-54D183FF4537}" srcOrd="12" destOrd="0" parTransId="{7D41708E-5706-4101-A417-6AD4937425EB}" sibTransId="{44CE107F-034A-476B-93D5-13305EB4F74B}"/>
    <dgm:cxn modelId="{9024C73D-73E7-437A-B217-72223CCC0060}" srcId="{7B9B1C45-BCDB-4285-93FF-BA20B251F407}" destId="{911AE174-7077-430C-8497-B113683F84C9}" srcOrd="3" destOrd="0" parTransId="{BADACF07-D9BE-43CF-A8AC-33A0F6C8DE5B}" sibTransId="{61C9772D-3648-40DC-8414-582A11DEA391}"/>
    <dgm:cxn modelId="{A07E451D-D4AB-48A9-9CE9-5CA55753B667}" srcId="{1E9C7F83-D2DB-44CE-B4E0-8D51F8958183}" destId="{AC0D1833-5A47-431D-BE12-33DBA862C7BE}" srcOrd="3" destOrd="0" parTransId="{4D2D1CC9-7E21-4445-B500-FD60167CC7C4}" sibTransId="{4DDE2179-B4E9-4167-B47C-064282E15266}"/>
    <dgm:cxn modelId="{30736059-E564-4177-97A3-7D9ECAB394C1}" type="presOf" srcId="{35333CDF-CD45-46D5-AF28-0648DAE42A8B}" destId="{8E2041FE-0399-4DC6-BF08-94B770710C50}" srcOrd="0" destOrd="0" presId="urn:microsoft.com/office/officeart/2005/8/layout/hList2"/>
    <dgm:cxn modelId="{972C1779-3FFD-45AF-926A-240C21B48221}" srcId="{8F585B64-7D8F-4894-97D7-AEAFF2F9E2F4}" destId="{8EDF5676-1B66-4E4E-8A80-961F40E4C115}" srcOrd="0" destOrd="0" parTransId="{D476091F-83D5-4A80-B7F8-BE7CCC75C611}" sibTransId="{D5E9361C-588E-4E51-A4BD-88F1896D4AAF}"/>
    <dgm:cxn modelId="{BFE626F4-C39A-448F-9853-21F46D59B21D}" srcId="{1E9C7F83-D2DB-44CE-B4E0-8D51F8958183}" destId="{4C9776B9-DD6E-4B68-9813-0BB067F6987C}" srcOrd="9" destOrd="0" parTransId="{BF930F8A-3255-4266-9CDF-26DB59384002}" sibTransId="{CE171EA8-81DB-4D2A-8ECA-645AB171C183}"/>
    <dgm:cxn modelId="{ED1B2821-7EA7-447C-AE8D-4EAD80C0CBEA}" type="presOf" srcId="{9DF93716-EB2A-4AE0-99E5-7A423AFAC185}" destId="{0D33EBE5-ACE2-4431-9341-EE686C29B469}" srcOrd="0" destOrd="7" presId="urn:microsoft.com/office/officeart/2005/8/layout/hList2"/>
    <dgm:cxn modelId="{A1625C22-C916-4D56-9ED0-BE2B84337B18}" srcId="{7B9B1C45-BCDB-4285-93FF-BA20B251F407}" destId="{9F3EC7CE-80F6-4471-8040-F710F3E9A69B}" srcOrd="4" destOrd="0" parTransId="{404A2352-7690-445A-89C0-76A81C256B42}" sibTransId="{074C52DE-DFC3-47E3-B1C4-EEDF1AC23B80}"/>
    <dgm:cxn modelId="{3E3FE1B9-BA62-4B07-A72B-A7985BA1FE6F}" srcId="{7B9B1C45-BCDB-4285-93FF-BA20B251F407}" destId="{22899AED-C78D-432D-BE8A-ED1AAA40EE59}" srcOrd="1" destOrd="0" parTransId="{61EFC030-777D-4E53-9A22-812F9C8C9F4A}" sibTransId="{FA46F491-B2DC-4286-8906-4E78FF78439C}"/>
    <dgm:cxn modelId="{1F2819E3-D357-4028-88D4-549BD1416ACD}" type="presOf" srcId="{42972BE3-08A8-4276-AC0B-54D183FF4537}" destId="{0D33EBE5-ACE2-4431-9341-EE686C29B469}" srcOrd="0" destOrd="12" presId="urn:microsoft.com/office/officeart/2005/8/layout/hList2"/>
    <dgm:cxn modelId="{E319613B-D472-4D27-BEFA-0D75344450E7}" type="presOf" srcId="{2776DDA5-8657-47CF-9830-A32F747C6486}" destId="{4FA02465-033A-44DB-85AA-DCA652155D9E}" srcOrd="0" destOrd="2" presId="urn:microsoft.com/office/officeart/2005/8/layout/hList2"/>
    <dgm:cxn modelId="{4A647AEB-3D70-42EE-BAAF-8DB307DCC966}" type="presOf" srcId="{4C9776B9-DD6E-4B68-9813-0BB067F6987C}" destId="{0D33EBE5-ACE2-4431-9341-EE686C29B469}" srcOrd="0" destOrd="9" presId="urn:microsoft.com/office/officeart/2005/8/layout/hList2"/>
    <dgm:cxn modelId="{819EB809-7E61-4AE1-A24D-3295F8657747}" type="presOf" srcId="{21F43FA4-49CB-4F35-ABA6-0627ECBE4E8C}" destId="{4FA02465-033A-44DB-85AA-DCA652155D9E}" srcOrd="0" destOrd="0" presId="urn:microsoft.com/office/officeart/2005/8/layout/hList2"/>
    <dgm:cxn modelId="{6899A927-D87C-4BC0-AAC6-AAE3E1FCE5EA}" type="presOf" srcId="{70B5D843-E17E-466C-9E0A-3F6443666B81}" destId="{0D33EBE5-ACE2-4431-9341-EE686C29B469}" srcOrd="0" destOrd="2" presId="urn:microsoft.com/office/officeart/2005/8/layout/hList2"/>
    <dgm:cxn modelId="{007050EE-918F-4B10-8441-3B8B76C29A1A}" srcId="{8F585B64-7D8F-4894-97D7-AEAFF2F9E2F4}" destId="{2BF0EA6F-75CD-4B1B-94B0-1CECF78AFBE8}" srcOrd="7" destOrd="0" parTransId="{1A0EE89A-1A04-4DFA-82B8-EC770BE26E32}" sibTransId="{0FBDA1F3-6B67-405C-A038-DEB60FDC300B}"/>
    <dgm:cxn modelId="{0BA99223-3FE1-4345-B7D4-50BF5C60C480}" srcId="{8F585B64-7D8F-4894-97D7-AEAFF2F9E2F4}" destId="{34D142AF-0A82-4B16-85D2-4F47A2E20011}" srcOrd="3" destOrd="0" parTransId="{1AECE842-6B76-4104-9D4F-62CBB2B5B8E5}" sibTransId="{9704CDA1-6429-49DA-A7FA-F24ABA6AF240}"/>
    <dgm:cxn modelId="{3C762EED-9E6E-4209-A4FD-95FDB85FCC34}" type="presOf" srcId="{7B9B1C45-BCDB-4285-93FF-BA20B251F407}" destId="{ABDA32BB-26F6-42BE-BFF4-E0728A237AAD}" srcOrd="0" destOrd="0" presId="urn:microsoft.com/office/officeart/2005/8/layout/hList2"/>
    <dgm:cxn modelId="{4C0657FE-830A-4BBA-B696-5A62B0F15924}" srcId="{1E9C7F83-D2DB-44CE-B4E0-8D51F8958183}" destId="{C3A69EC6-20B6-4089-A9AF-B12A88D432DE}" srcOrd="4" destOrd="0" parTransId="{818CC7FF-C7EB-4DE2-AE89-AD7C4FDC4036}" sibTransId="{47FA713E-FA83-42D3-B745-AFF316195DFD}"/>
    <dgm:cxn modelId="{0D2E3CDB-C4BC-4AD3-8A0D-9AF9A71C72E1}" type="presOf" srcId="{346F3752-56D8-4C4C-8A42-82577A348977}" destId="{0D33EBE5-ACE2-4431-9341-EE686C29B469}" srcOrd="0" destOrd="1" presId="urn:microsoft.com/office/officeart/2005/8/layout/hList2"/>
    <dgm:cxn modelId="{88C12729-8BF6-4CF7-8A6B-67916EF47EB3}" type="presOf" srcId="{22899AED-C78D-432D-BE8A-ED1AAA40EE59}" destId="{4FA02465-033A-44DB-85AA-DCA652155D9E}" srcOrd="0" destOrd="1" presId="urn:microsoft.com/office/officeart/2005/8/layout/hList2"/>
    <dgm:cxn modelId="{7C0F4AEA-0CED-4E41-9D21-4450BEE5D6AB}" type="presOf" srcId="{9F3EC7CE-80F6-4471-8040-F710F3E9A69B}" destId="{4FA02465-033A-44DB-85AA-DCA652155D9E}" srcOrd="0" destOrd="4" presId="urn:microsoft.com/office/officeart/2005/8/layout/hList2"/>
    <dgm:cxn modelId="{AB109905-0CE2-483F-95AC-68DDFEB63029}" type="presOf" srcId="{65E94712-638F-4E43-AABE-D718F9051061}" destId="{B61D8964-970A-4DDD-B082-768824C1FEA9}" srcOrd="0" destOrd="1" presId="urn:microsoft.com/office/officeart/2005/8/layout/hList2"/>
    <dgm:cxn modelId="{E3F6DDB6-8F12-460C-98C3-C8C474239F6A}" type="presOf" srcId="{34D142AF-0A82-4B16-85D2-4F47A2E20011}" destId="{B61D8964-970A-4DDD-B082-768824C1FEA9}" srcOrd="0" destOrd="3" presId="urn:microsoft.com/office/officeart/2005/8/layout/hList2"/>
    <dgm:cxn modelId="{C599130C-CA5D-4EF5-B3F6-326446697AE9}" type="presOf" srcId="{E38807E0-8FD4-4974-9EE7-913F0523D796}" destId="{B61D8964-970A-4DDD-B082-768824C1FEA9}" srcOrd="0" destOrd="6" presId="urn:microsoft.com/office/officeart/2005/8/layout/hList2"/>
    <dgm:cxn modelId="{40383136-5AFB-43A6-8079-DFE1AD7BF3CB}" srcId="{7B9B1C45-BCDB-4285-93FF-BA20B251F407}" destId="{2776DDA5-8657-47CF-9830-A32F747C6486}" srcOrd="2" destOrd="0" parTransId="{F29CC38A-97BA-4E3F-9D0F-09AC2A7E6D51}" sibTransId="{172CDEAC-AC32-4D43-AC48-5F791ACE72D4}"/>
    <dgm:cxn modelId="{D51A03D2-D56A-4E6F-BF96-91B45CBEA8CE}" srcId="{35333CDF-CD45-46D5-AF28-0648DAE42A8B}" destId="{1E9C7F83-D2DB-44CE-B4E0-8D51F8958183}" srcOrd="2" destOrd="0" parTransId="{334BCB1A-40BC-470A-9868-DFB2D0732463}" sibTransId="{20D75A48-7FCE-4ABA-9BD0-803EADB18DF3}"/>
    <dgm:cxn modelId="{3DC0F6CC-0A5B-4C09-9297-D63256F4A457}" srcId="{8F585B64-7D8F-4894-97D7-AEAFF2F9E2F4}" destId="{819FBA8C-2702-4079-9B42-4F1C8CBA366E}" srcOrd="4" destOrd="0" parTransId="{CD8E163A-DED1-45AA-A0CC-E5A5D40D7512}" sibTransId="{391A4563-A4C6-4F0D-9011-4576E2FFF3F0}"/>
    <dgm:cxn modelId="{9ABB71C1-2A45-4C7E-BD28-C5A42F05A2F9}" type="presOf" srcId="{C3A69EC6-20B6-4089-A9AF-B12A88D432DE}" destId="{0D33EBE5-ACE2-4431-9341-EE686C29B469}" srcOrd="0" destOrd="4" presId="urn:microsoft.com/office/officeart/2005/8/layout/hList2"/>
    <dgm:cxn modelId="{C3C21170-3A50-422E-9A56-28EB3FFF7AA3}" type="presOf" srcId="{AC0D1833-5A47-431D-BE12-33DBA862C7BE}" destId="{0D33EBE5-ACE2-4431-9341-EE686C29B469}" srcOrd="0" destOrd="3" presId="urn:microsoft.com/office/officeart/2005/8/layout/hList2"/>
    <dgm:cxn modelId="{4EC27DEA-D08A-42A5-AE6E-6962B2F3B358}" type="presOf" srcId="{8EDF5676-1B66-4E4E-8A80-961F40E4C115}" destId="{B61D8964-970A-4DDD-B082-768824C1FEA9}" srcOrd="0" destOrd="0" presId="urn:microsoft.com/office/officeart/2005/8/layout/hList2"/>
    <dgm:cxn modelId="{718346B7-0EDB-4A1B-A825-671FB02C49B6}" srcId="{1E9C7F83-D2DB-44CE-B4E0-8D51F8958183}" destId="{BC345DF0-361F-4135-8E62-8FD59345BC35}" srcOrd="8" destOrd="0" parTransId="{5E7466F2-0DA9-4933-8A43-CD31FDA93EEB}" sibTransId="{51FFB840-DB1F-4C37-9E68-029E747913BB}"/>
    <dgm:cxn modelId="{258E9D8D-7122-47CB-8C32-7BB491EEFC70}" srcId="{7B9B1C45-BCDB-4285-93FF-BA20B251F407}" destId="{21F43FA4-49CB-4F35-ABA6-0627ECBE4E8C}" srcOrd="0" destOrd="0" parTransId="{2C87D8AF-82F0-4FC5-8E4B-E1D3A9B2454A}" sibTransId="{97BCF02C-8A8F-4153-AD2E-1321277D41C9}"/>
    <dgm:cxn modelId="{DC1A0A39-B55B-49AD-AE44-B9181D50977B}" srcId="{1E9C7F83-D2DB-44CE-B4E0-8D51F8958183}" destId="{70B5D843-E17E-466C-9E0A-3F6443666B81}" srcOrd="2" destOrd="0" parTransId="{4CC6BD9A-CFE6-417F-89EE-C5AD55516086}" sibTransId="{8A798062-ABA4-4F56-A23E-1B4514623BDA}"/>
    <dgm:cxn modelId="{720F9A96-1E06-44CC-8543-D230A0D8DC37}" srcId="{8F585B64-7D8F-4894-97D7-AEAFF2F9E2F4}" destId="{1E934029-3E44-4431-8999-9F8DBF092B4B}" srcOrd="5" destOrd="0" parTransId="{19B214E8-3063-43D9-8775-8EE0D09C6385}" sibTransId="{6B4ED68B-7E91-4F9A-B4BB-4BB0D3EB4CC9}"/>
    <dgm:cxn modelId="{3F1F00B7-7D5B-4A5A-B7AC-AE442F79483B}" srcId="{8F585B64-7D8F-4894-97D7-AEAFF2F9E2F4}" destId="{65E94712-638F-4E43-AABE-D718F9051061}" srcOrd="1" destOrd="0" parTransId="{21AB91D9-7B52-466C-8BD1-437402C5F41F}" sibTransId="{518FA53E-92B8-42DA-A96F-3C6CF22F4C13}"/>
    <dgm:cxn modelId="{CC84A6D3-497C-453D-AF27-E48F7EC5E647}" srcId="{35333CDF-CD45-46D5-AF28-0648DAE42A8B}" destId="{8F585B64-7D8F-4894-97D7-AEAFF2F9E2F4}" srcOrd="1" destOrd="0" parTransId="{65DAF9A4-0A2A-439F-8D14-AD2324674E06}" sibTransId="{4D843FF9-4A8D-4165-81DA-F16C8D1EC969}"/>
    <dgm:cxn modelId="{FF2508B9-C5B9-4885-BF53-C00142177E11}" type="presOf" srcId="{D2390BEE-67FD-4DA9-A1AB-99049DCDFDE9}" destId="{4FA02465-033A-44DB-85AA-DCA652155D9E}" srcOrd="0" destOrd="5" presId="urn:microsoft.com/office/officeart/2005/8/layout/hList2"/>
    <dgm:cxn modelId="{04393413-8466-4026-9134-69D78644D166}" type="presOf" srcId="{8F585B64-7D8F-4894-97D7-AEAFF2F9E2F4}" destId="{D2494F50-8A22-411B-9A3E-D6BAB8B17F14}" srcOrd="0" destOrd="0" presId="urn:microsoft.com/office/officeart/2005/8/layout/hList2"/>
    <dgm:cxn modelId="{2B32F896-E549-40B6-8BE0-2325A3A40169}" srcId="{8F585B64-7D8F-4894-97D7-AEAFF2F9E2F4}" destId="{8417B1A5-5E90-4B78-8994-2428674962CD}" srcOrd="2" destOrd="0" parTransId="{2B8AE36D-2461-45EC-8E3B-A54191EC2B3B}" sibTransId="{B466C9E1-F373-4D19-A0D8-766B2CB90A3B}"/>
    <dgm:cxn modelId="{2DE62EA5-EE17-4EDC-9BA0-66707C9665F5}" type="presOf" srcId="{8417B1A5-5E90-4B78-8994-2428674962CD}" destId="{B61D8964-970A-4DDD-B082-768824C1FEA9}" srcOrd="0" destOrd="2" presId="urn:microsoft.com/office/officeart/2005/8/layout/hList2"/>
    <dgm:cxn modelId="{9F2F6F5C-486C-46A4-9566-42F5AE5146FE}" srcId="{7B9B1C45-BCDB-4285-93FF-BA20B251F407}" destId="{D2390BEE-67FD-4DA9-A1AB-99049DCDFDE9}" srcOrd="5" destOrd="0" parTransId="{0BFEA092-C2C4-420A-BC31-BCA08B87E48F}" sibTransId="{99EF3BE6-2546-4F27-9343-A362FC95AB70}"/>
    <dgm:cxn modelId="{86663A93-79D6-4ED8-B3E7-4ACD907DA481}" type="presOf" srcId="{4D5F1E9C-B753-475F-A58E-8BB991DA05F9}" destId="{0D33EBE5-ACE2-4431-9341-EE686C29B469}" srcOrd="0" destOrd="6" presId="urn:microsoft.com/office/officeart/2005/8/layout/hList2"/>
    <dgm:cxn modelId="{E85B555D-531B-4F3F-BE7B-E1D08FE477E0}" type="presOf" srcId="{40514275-51E0-4043-A60A-EA32BB73E7E8}" destId="{0D33EBE5-ACE2-4431-9341-EE686C29B469}" srcOrd="0" destOrd="5" presId="urn:microsoft.com/office/officeart/2005/8/layout/hList2"/>
    <dgm:cxn modelId="{61851C09-D735-4FDF-BD92-08A37DC9AE79}" type="presOf" srcId="{911AE174-7077-430C-8497-B113683F84C9}" destId="{4FA02465-033A-44DB-85AA-DCA652155D9E}" srcOrd="0" destOrd="3" presId="urn:microsoft.com/office/officeart/2005/8/layout/hList2"/>
    <dgm:cxn modelId="{5234216C-76A8-40A5-AEE6-40C9EB7DC2F6}" srcId="{1E9C7F83-D2DB-44CE-B4E0-8D51F8958183}" destId="{346F3752-56D8-4C4C-8A42-82577A348977}" srcOrd="1" destOrd="0" parTransId="{AD18350C-2408-4CF2-9F17-29197F43FA3B}" sibTransId="{17493B8C-563E-4CC9-8E45-2BD79E4F1340}"/>
    <dgm:cxn modelId="{F3A53E1B-0A2C-41F1-852D-41A3A81D1034}" srcId="{1E9C7F83-D2DB-44CE-B4E0-8D51F8958183}" destId="{9DF93716-EB2A-4AE0-99E5-7A423AFAC185}" srcOrd="7" destOrd="0" parTransId="{66DDD0D5-2AE6-4C11-B653-33272D718424}" sibTransId="{ADCFD177-5C1C-4962-B041-3204CF0B5B23}"/>
    <dgm:cxn modelId="{80E9E4A6-2C0A-4688-AF8D-B910237426F6}" srcId="{1E9C7F83-D2DB-44CE-B4E0-8D51F8958183}" destId="{E9EB48FA-2615-4BB5-BABA-11ED272592C4}" srcOrd="10" destOrd="0" parTransId="{044752B0-DF5B-4B5D-9FCC-EC18CA8EEA4F}" sibTransId="{29D84EDF-D533-4655-BD4C-30E7EBBE8052}"/>
    <dgm:cxn modelId="{9933953F-2360-4E8D-A6CD-5BE6B121F080}" srcId="{8F585B64-7D8F-4894-97D7-AEAFF2F9E2F4}" destId="{E38807E0-8FD4-4974-9EE7-913F0523D796}" srcOrd="6" destOrd="0" parTransId="{282108A8-4709-4E16-BB31-C8258930161C}" sibTransId="{40BFF957-F558-4E9D-BD89-440388E7A7D8}"/>
    <dgm:cxn modelId="{DD25BEA7-1502-4348-B61C-89DF6F8B1431}" srcId="{1E9C7F83-D2DB-44CE-B4E0-8D51F8958183}" destId="{40514275-51E0-4043-A60A-EA32BB73E7E8}" srcOrd="5" destOrd="0" parTransId="{9112836C-8596-4875-84E2-8C9D8C272AA2}" sibTransId="{4F2C417A-4BA5-483E-982F-8D95403E60F5}"/>
    <dgm:cxn modelId="{71F8769E-3CB1-42A2-B224-672D9F6AE3C9}" type="presOf" srcId="{B7743F9A-D0D7-40BF-B0D3-7AD416742198}" destId="{0D33EBE5-ACE2-4431-9341-EE686C29B469}" srcOrd="0" destOrd="0" presId="urn:microsoft.com/office/officeart/2005/8/layout/hList2"/>
    <dgm:cxn modelId="{D002F32E-C134-4ECB-9D50-3886E3B07A28}" srcId="{1E9C7F83-D2DB-44CE-B4E0-8D51F8958183}" destId="{4D5F1E9C-B753-475F-A58E-8BB991DA05F9}" srcOrd="6" destOrd="0" parTransId="{A5DB1114-FA36-4223-B89D-10F9103B5095}" sibTransId="{D3F3D0DA-D2C2-482F-A1B4-E299D1F2DF1A}"/>
    <dgm:cxn modelId="{D2CB6281-A272-4083-900C-0E8CAB6C420B}" srcId="{35333CDF-CD45-46D5-AF28-0648DAE42A8B}" destId="{7B9B1C45-BCDB-4285-93FF-BA20B251F407}" srcOrd="0" destOrd="0" parTransId="{9E6E8E34-0819-489D-B612-78851CC1472D}" sibTransId="{5C9B3A04-4228-4EF6-8E4C-7259C13440D0}"/>
    <dgm:cxn modelId="{1CD782CB-36C5-4C93-B3A8-64AFFCB6679A}" type="presOf" srcId="{BC345DF0-361F-4135-8E62-8FD59345BC35}" destId="{0D33EBE5-ACE2-4431-9341-EE686C29B469}" srcOrd="0" destOrd="8" presId="urn:microsoft.com/office/officeart/2005/8/layout/hList2"/>
    <dgm:cxn modelId="{9B329E2E-3B20-4977-85CB-B75584B8C3A3}" type="presOf" srcId="{1E9C7F83-D2DB-44CE-B4E0-8D51F8958183}" destId="{D164273B-0C1B-40D8-B8F7-8003561A58C7}" srcOrd="0" destOrd="0" presId="urn:microsoft.com/office/officeart/2005/8/layout/hList2"/>
    <dgm:cxn modelId="{2E73493B-AB5E-4DA9-8A13-DC9184E62F13}" type="presOf" srcId="{033D7C2C-3F4F-4C1B-89C0-4DCE3A50CFDF}" destId="{0D33EBE5-ACE2-4431-9341-EE686C29B469}" srcOrd="0" destOrd="11" presId="urn:microsoft.com/office/officeart/2005/8/layout/hList2"/>
    <dgm:cxn modelId="{CDEFC774-D5BF-499F-AA70-2159D3743F92}" type="presParOf" srcId="{8E2041FE-0399-4DC6-BF08-94B770710C50}" destId="{122AD1C8-4AED-4203-BCD5-8F063893A368}" srcOrd="0" destOrd="0" presId="urn:microsoft.com/office/officeart/2005/8/layout/hList2"/>
    <dgm:cxn modelId="{80F1B0E4-5A9C-4BFB-B54C-02092F38233B}" type="presParOf" srcId="{122AD1C8-4AED-4203-BCD5-8F063893A368}" destId="{F165A5A1-5E32-4F7D-9219-30ED560DFEFB}" srcOrd="0" destOrd="0" presId="urn:microsoft.com/office/officeart/2005/8/layout/hList2"/>
    <dgm:cxn modelId="{E40109F0-D9BE-444C-95D4-4AAD84D4E374}" type="presParOf" srcId="{122AD1C8-4AED-4203-BCD5-8F063893A368}" destId="{4FA02465-033A-44DB-85AA-DCA652155D9E}" srcOrd="1" destOrd="0" presId="urn:microsoft.com/office/officeart/2005/8/layout/hList2"/>
    <dgm:cxn modelId="{B195817E-54C7-4213-B374-509C51D5CDE9}" type="presParOf" srcId="{122AD1C8-4AED-4203-BCD5-8F063893A368}" destId="{ABDA32BB-26F6-42BE-BFF4-E0728A237AAD}" srcOrd="2" destOrd="0" presId="urn:microsoft.com/office/officeart/2005/8/layout/hList2"/>
    <dgm:cxn modelId="{DF1621D9-EA43-4A38-A38F-867F1DC5D9F4}" type="presParOf" srcId="{8E2041FE-0399-4DC6-BF08-94B770710C50}" destId="{E11FD1D4-5E7F-413B-BFFE-2761E3AE1F32}" srcOrd="1" destOrd="0" presId="urn:microsoft.com/office/officeart/2005/8/layout/hList2"/>
    <dgm:cxn modelId="{D0EC453E-6B54-49F3-BD68-38317C402FFF}" type="presParOf" srcId="{8E2041FE-0399-4DC6-BF08-94B770710C50}" destId="{5FC36B10-7B8F-4CD2-AB47-C92FE3A2B9D5}" srcOrd="2" destOrd="0" presId="urn:microsoft.com/office/officeart/2005/8/layout/hList2"/>
    <dgm:cxn modelId="{3A09E7B4-7592-415A-8597-187165C86492}" type="presParOf" srcId="{5FC36B10-7B8F-4CD2-AB47-C92FE3A2B9D5}" destId="{B149565A-6CAE-4DC7-BC88-ADB18A5B4101}" srcOrd="0" destOrd="0" presId="urn:microsoft.com/office/officeart/2005/8/layout/hList2"/>
    <dgm:cxn modelId="{553493B8-16F1-4BC8-B2B6-0B47E236F321}" type="presParOf" srcId="{5FC36B10-7B8F-4CD2-AB47-C92FE3A2B9D5}" destId="{B61D8964-970A-4DDD-B082-768824C1FEA9}" srcOrd="1" destOrd="0" presId="urn:microsoft.com/office/officeart/2005/8/layout/hList2"/>
    <dgm:cxn modelId="{4EAC86C9-2E00-432E-B473-75AEC65AB0A4}" type="presParOf" srcId="{5FC36B10-7B8F-4CD2-AB47-C92FE3A2B9D5}" destId="{D2494F50-8A22-411B-9A3E-D6BAB8B17F14}" srcOrd="2" destOrd="0" presId="urn:microsoft.com/office/officeart/2005/8/layout/hList2"/>
    <dgm:cxn modelId="{D75BECFF-97EF-46E0-8B10-2D291B335DEC}" type="presParOf" srcId="{8E2041FE-0399-4DC6-BF08-94B770710C50}" destId="{8F15ED0C-AB9B-402F-98B5-CBADB5E4B0F7}" srcOrd="3" destOrd="0" presId="urn:microsoft.com/office/officeart/2005/8/layout/hList2"/>
    <dgm:cxn modelId="{23E6A18E-38DF-41BD-823F-356B28B840A9}" type="presParOf" srcId="{8E2041FE-0399-4DC6-BF08-94B770710C50}" destId="{24150F9F-B5D7-45EC-AEAB-7FD8E28484CA}" srcOrd="4" destOrd="0" presId="urn:microsoft.com/office/officeart/2005/8/layout/hList2"/>
    <dgm:cxn modelId="{67055A0E-32A6-4299-BC16-1CD3A9FBBA3A}" type="presParOf" srcId="{24150F9F-B5D7-45EC-AEAB-7FD8E28484CA}" destId="{43A81C98-9728-4356-80A9-410D82480300}" srcOrd="0" destOrd="0" presId="urn:microsoft.com/office/officeart/2005/8/layout/hList2"/>
    <dgm:cxn modelId="{13B75691-92B9-4795-9075-11F88C8109FC}" type="presParOf" srcId="{24150F9F-B5D7-45EC-AEAB-7FD8E28484CA}" destId="{0D33EBE5-ACE2-4431-9341-EE686C29B469}" srcOrd="1" destOrd="0" presId="urn:microsoft.com/office/officeart/2005/8/layout/hList2"/>
    <dgm:cxn modelId="{06FC6379-7DA1-4EE3-BD58-FD1FBFD10A0E}" type="presParOf" srcId="{24150F9F-B5D7-45EC-AEAB-7FD8E28484CA}" destId="{D164273B-0C1B-40D8-B8F7-8003561A58C7}"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431E8EF-BD56-4ED2-8428-FB0EE7A5E3F8}" type="doc">
      <dgm:prSet loTypeId="urn:microsoft.com/office/officeart/2005/8/layout/process1" loCatId="process" qsTypeId="urn:microsoft.com/office/officeart/2005/8/quickstyle/simple5" qsCatId="simple" csTypeId="urn:microsoft.com/office/officeart/2005/8/colors/accent1_2" csCatId="accent1" phldr="1"/>
      <dgm:spPr/>
    </dgm:pt>
    <dgm:pt modelId="{03880A73-6833-4156-8BBD-DD4756285DA3}">
      <dgm:prSet phldrT="[Text]"/>
      <dgm:spPr/>
      <dgm:t>
        <a:bodyPr/>
        <a:lstStyle/>
        <a:p>
          <a:r>
            <a:rPr lang="de-DE" b="1" i="0" dirty="0" smtClean="0"/>
            <a:t>für Geschäftsjahre beginnend ab dem 1. Januar 2024: Unternehmen von öffentlichem Interesse mit mehr als 500 Mitarbeiter*innen</a:t>
          </a:r>
          <a:endParaRPr lang="de-DE" b="1" dirty="0"/>
        </a:p>
      </dgm:t>
    </dgm:pt>
    <dgm:pt modelId="{4F861543-4E42-4912-AB31-1610E14034CE}" type="parTrans" cxnId="{2410F5B2-DE05-484B-9A84-E02FF966FD64}">
      <dgm:prSet/>
      <dgm:spPr/>
      <dgm:t>
        <a:bodyPr/>
        <a:lstStyle/>
        <a:p>
          <a:endParaRPr lang="de-DE"/>
        </a:p>
      </dgm:t>
    </dgm:pt>
    <dgm:pt modelId="{D995715E-809E-4B00-9657-6C1BCAB77B4D}" type="sibTrans" cxnId="{2410F5B2-DE05-484B-9A84-E02FF966FD64}">
      <dgm:prSet/>
      <dgm:spPr/>
      <dgm:t>
        <a:bodyPr/>
        <a:lstStyle/>
        <a:p>
          <a:endParaRPr lang="de-DE"/>
        </a:p>
      </dgm:t>
    </dgm:pt>
    <dgm:pt modelId="{B1B6F97F-3AD0-485D-8758-575D8C2B3062}">
      <dgm:prSet phldrT="[Text]"/>
      <dgm:spPr/>
      <dgm:t>
        <a:bodyPr/>
        <a:lstStyle/>
        <a:p>
          <a:r>
            <a:rPr lang="de-DE" b="1" i="0" dirty="0" smtClean="0"/>
            <a:t>für Geschäftsjahre beginnend ab dem 1. Januar 2025: alle anderen bilanzrechtlich großen Unternehmen</a:t>
          </a:r>
          <a:endParaRPr lang="de-DE" b="1" dirty="0"/>
        </a:p>
      </dgm:t>
    </dgm:pt>
    <dgm:pt modelId="{DAD1D6BD-F7EE-458C-A97E-E8FCAEE78F48}" type="parTrans" cxnId="{BE80B638-5E7B-4A65-BBCF-EEEAC18AA644}">
      <dgm:prSet/>
      <dgm:spPr/>
      <dgm:t>
        <a:bodyPr/>
        <a:lstStyle/>
        <a:p>
          <a:endParaRPr lang="de-DE"/>
        </a:p>
      </dgm:t>
    </dgm:pt>
    <dgm:pt modelId="{B74B9400-1F58-4FAD-AED6-262DCA1D6B8B}" type="sibTrans" cxnId="{BE80B638-5E7B-4A65-BBCF-EEEAC18AA644}">
      <dgm:prSet/>
      <dgm:spPr/>
      <dgm:t>
        <a:bodyPr/>
        <a:lstStyle/>
        <a:p>
          <a:endParaRPr lang="de-DE"/>
        </a:p>
      </dgm:t>
    </dgm:pt>
    <dgm:pt modelId="{1ADF4B66-CF14-452D-B48A-3F1FF56FCFE8}">
      <dgm:prSet phldrT="[Text]"/>
      <dgm:spPr/>
      <dgm:t>
        <a:bodyPr/>
        <a:lstStyle/>
        <a:p>
          <a:r>
            <a:rPr lang="de-DE" b="1" i="0" dirty="0" smtClean="0"/>
            <a:t>für Geschäftsjahre beginnend ab dem 1. Januar 2026: kapitalmarkt­orientierte KMU, sofern sie nicht von der Möglichkeit des Aufschubs bis 2028 Gebrauch machen.</a:t>
          </a:r>
          <a:endParaRPr lang="de-DE" b="1" dirty="0"/>
        </a:p>
      </dgm:t>
    </dgm:pt>
    <dgm:pt modelId="{9CCA4B19-01C7-4D4F-827F-BAAEF75F9416}" type="parTrans" cxnId="{BE714463-0CD8-4755-8965-0882921C0C7B}">
      <dgm:prSet/>
      <dgm:spPr/>
      <dgm:t>
        <a:bodyPr/>
        <a:lstStyle/>
        <a:p>
          <a:endParaRPr lang="de-DE"/>
        </a:p>
      </dgm:t>
    </dgm:pt>
    <dgm:pt modelId="{528B7968-EC84-4ABD-96CF-0AB20367A8CA}" type="sibTrans" cxnId="{BE714463-0CD8-4755-8965-0882921C0C7B}">
      <dgm:prSet/>
      <dgm:spPr/>
      <dgm:t>
        <a:bodyPr/>
        <a:lstStyle/>
        <a:p>
          <a:endParaRPr lang="de-DE"/>
        </a:p>
      </dgm:t>
    </dgm:pt>
    <dgm:pt modelId="{EDD7B7F2-FA70-419A-903F-9E50084F349F}" type="pres">
      <dgm:prSet presAssocID="{3431E8EF-BD56-4ED2-8428-FB0EE7A5E3F8}" presName="Name0" presStyleCnt="0">
        <dgm:presLayoutVars>
          <dgm:dir/>
          <dgm:resizeHandles val="exact"/>
        </dgm:presLayoutVars>
      </dgm:prSet>
      <dgm:spPr/>
    </dgm:pt>
    <dgm:pt modelId="{5B65B529-D894-42FF-B992-C82067703C05}" type="pres">
      <dgm:prSet presAssocID="{03880A73-6833-4156-8BBD-DD4756285DA3}" presName="node" presStyleLbl="node1" presStyleIdx="0" presStyleCnt="3" custLinFactX="-10335" custLinFactNeighborX="-100000" custLinFactNeighborY="-4478">
        <dgm:presLayoutVars>
          <dgm:bulletEnabled val="1"/>
        </dgm:presLayoutVars>
      </dgm:prSet>
      <dgm:spPr/>
      <dgm:t>
        <a:bodyPr/>
        <a:lstStyle/>
        <a:p>
          <a:endParaRPr lang="de-DE"/>
        </a:p>
      </dgm:t>
    </dgm:pt>
    <dgm:pt modelId="{7E81A926-E6BD-477C-A835-E2B4F85A0BA3}" type="pres">
      <dgm:prSet presAssocID="{D995715E-809E-4B00-9657-6C1BCAB77B4D}" presName="sibTrans" presStyleLbl="sibTrans2D1" presStyleIdx="0" presStyleCnt="2"/>
      <dgm:spPr/>
      <dgm:t>
        <a:bodyPr/>
        <a:lstStyle/>
        <a:p>
          <a:endParaRPr lang="de-DE"/>
        </a:p>
      </dgm:t>
    </dgm:pt>
    <dgm:pt modelId="{B802FB06-F231-4B6E-AF98-0F71D896387C}" type="pres">
      <dgm:prSet presAssocID="{D995715E-809E-4B00-9657-6C1BCAB77B4D}" presName="connectorText" presStyleLbl="sibTrans2D1" presStyleIdx="0" presStyleCnt="2"/>
      <dgm:spPr/>
      <dgm:t>
        <a:bodyPr/>
        <a:lstStyle/>
        <a:p>
          <a:endParaRPr lang="de-DE"/>
        </a:p>
      </dgm:t>
    </dgm:pt>
    <dgm:pt modelId="{F998A994-B721-4087-B2EE-99B776423CA7}" type="pres">
      <dgm:prSet presAssocID="{B1B6F97F-3AD0-485D-8758-575D8C2B3062}" presName="node" presStyleLbl="node1" presStyleIdx="1" presStyleCnt="3">
        <dgm:presLayoutVars>
          <dgm:bulletEnabled val="1"/>
        </dgm:presLayoutVars>
      </dgm:prSet>
      <dgm:spPr/>
      <dgm:t>
        <a:bodyPr/>
        <a:lstStyle/>
        <a:p>
          <a:endParaRPr lang="de-DE"/>
        </a:p>
      </dgm:t>
    </dgm:pt>
    <dgm:pt modelId="{1C988EA7-614A-4F6D-B86E-2838E73C6D1F}" type="pres">
      <dgm:prSet presAssocID="{B74B9400-1F58-4FAD-AED6-262DCA1D6B8B}" presName="sibTrans" presStyleLbl="sibTrans2D1" presStyleIdx="1" presStyleCnt="2"/>
      <dgm:spPr/>
      <dgm:t>
        <a:bodyPr/>
        <a:lstStyle/>
        <a:p>
          <a:endParaRPr lang="de-DE"/>
        </a:p>
      </dgm:t>
    </dgm:pt>
    <dgm:pt modelId="{457C0A4B-DA70-4FC4-B932-F3545F358871}" type="pres">
      <dgm:prSet presAssocID="{B74B9400-1F58-4FAD-AED6-262DCA1D6B8B}" presName="connectorText" presStyleLbl="sibTrans2D1" presStyleIdx="1" presStyleCnt="2"/>
      <dgm:spPr/>
      <dgm:t>
        <a:bodyPr/>
        <a:lstStyle/>
        <a:p>
          <a:endParaRPr lang="de-DE"/>
        </a:p>
      </dgm:t>
    </dgm:pt>
    <dgm:pt modelId="{05BF727D-CBC7-4A47-8872-DC32037EC0A7}" type="pres">
      <dgm:prSet presAssocID="{1ADF4B66-CF14-452D-B48A-3F1FF56FCFE8}" presName="node" presStyleLbl="node1" presStyleIdx="2" presStyleCnt="3">
        <dgm:presLayoutVars>
          <dgm:bulletEnabled val="1"/>
        </dgm:presLayoutVars>
      </dgm:prSet>
      <dgm:spPr/>
      <dgm:t>
        <a:bodyPr/>
        <a:lstStyle/>
        <a:p>
          <a:endParaRPr lang="de-DE"/>
        </a:p>
      </dgm:t>
    </dgm:pt>
  </dgm:ptLst>
  <dgm:cxnLst>
    <dgm:cxn modelId="{0DC60E33-1BEC-4ABD-B5E0-130B4CBD7DDC}" type="presOf" srcId="{D995715E-809E-4B00-9657-6C1BCAB77B4D}" destId="{B802FB06-F231-4B6E-AF98-0F71D896387C}" srcOrd="1" destOrd="0" presId="urn:microsoft.com/office/officeart/2005/8/layout/process1"/>
    <dgm:cxn modelId="{DA5BF7C7-5C12-4A7F-8EC6-00E957870FB2}" type="presOf" srcId="{3431E8EF-BD56-4ED2-8428-FB0EE7A5E3F8}" destId="{EDD7B7F2-FA70-419A-903F-9E50084F349F}" srcOrd="0" destOrd="0" presId="urn:microsoft.com/office/officeart/2005/8/layout/process1"/>
    <dgm:cxn modelId="{BE714463-0CD8-4755-8965-0882921C0C7B}" srcId="{3431E8EF-BD56-4ED2-8428-FB0EE7A5E3F8}" destId="{1ADF4B66-CF14-452D-B48A-3F1FF56FCFE8}" srcOrd="2" destOrd="0" parTransId="{9CCA4B19-01C7-4D4F-827F-BAAEF75F9416}" sibTransId="{528B7968-EC84-4ABD-96CF-0AB20367A8CA}"/>
    <dgm:cxn modelId="{7272658B-DDC3-47E5-ABFB-C3C43BF84514}" type="presOf" srcId="{1ADF4B66-CF14-452D-B48A-3F1FF56FCFE8}" destId="{05BF727D-CBC7-4A47-8872-DC32037EC0A7}" srcOrd="0" destOrd="0" presId="urn:microsoft.com/office/officeart/2005/8/layout/process1"/>
    <dgm:cxn modelId="{42D9E8FE-538A-4305-857C-8C2D15D1669A}" type="presOf" srcId="{D995715E-809E-4B00-9657-6C1BCAB77B4D}" destId="{7E81A926-E6BD-477C-A835-E2B4F85A0BA3}" srcOrd="0" destOrd="0" presId="urn:microsoft.com/office/officeart/2005/8/layout/process1"/>
    <dgm:cxn modelId="{2410F5B2-DE05-484B-9A84-E02FF966FD64}" srcId="{3431E8EF-BD56-4ED2-8428-FB0EE7A5E3F8}" destId="{03880A73-6833-4156-8BBD-DD4756285DA3}" srcOrd="0" destOrd="0" parTransId="{4F861543-4E42-4912-AB31-1610E14034CE}" sibTransId="{D995715E-809E-4B00-9657-6C1BCAB77B4D}"/>
    <dgm:cxn modelId="{F418F0E9-0D67-494B-8468-E0150EC1D217}" type="presOf" srcId="{B74B9400-1F58-4FAD-AED6-262DCA1D6B8B}" destId="{457C0A4B-DA70-4FC4-B932-F3545F358871}" srcOrd="1" destOrd="0" presId="urn:microsoft.com/office/officeart/2005/8/layout/process1"/>
    <dgm:cxn modelId="{0BBDD0CB-3BD4-45C8-B8F9-05ECAC70114F}" type="presOf" srcId="{B74B9400-1F58-4FAD-AED6-262DCA1D6B8B}" destId="{1C988EA7-614A-4F6D-B86E-2838E73C6D1F}" srcOrd="0" destOrd="0" presId="urn:microsoft.com/office/officeart/2005/8/layout/process1"/>
    <dgm:cxn modelId="{5B099674-0DEF-4C20-A11D-71E9181231D0}" type="presOf" srcId="{03880A73-6833-4156-8BBD-DD4756285DA3}" destId="{5B65B529-D894-42FF-B992-C82067703C05}" srcOrd="0" destOrd="0" presId="urn:microsoft.com/office/officeart/2005/8/layout/process1"/>
    <dgm:cxn modelId="{8B4C6552-6DE4-499C-BDDC-46E5A49144A0}" type="presOf" srcId="{B1B6F97F-3AD0-485D-8758-575D8C2B3062}" destId="{F998A994-B721-4087-B2EE-99B776423CA7}" srcOrd="0" destOrd="0" presId="urn:microsoft.com/office/officeart/2005/8/layout/process1"/>
    <dgm:cxn modelId="{BE80B638-5E7B-4A65-BBCF-EEEAC18AA644}" srcId="{3431E8EF-BD56-4ED2-8428-FB0EE7A5E3F8}" destId="{B1B6F97F-3AD0-485D-8758-575D8C2B3062}" srcOrd="1" destOrd="0" parTransId="{DAD1D6BD-F7EE-458C-A97E-E8FCAEE78F48}" sibTransId="{B74B9400-1F58-4FAD-AED6-262DCA1D6B8B}"/>
    <dgm:cxn modelId="{56C5AF8A-5BA7-4E05-A725-80EC67AB8C7D}" type="presParOf" srcId="{EDD7B7F2-FA70-419A-903F-9E50084F349F}" destId="{5B65B529-D894-42FF-B992-C82067703C05}" srcOrd="0" destOrd="0" presId="urn:microsoft.com/office/officeart/2005/8/layout/process1"/>
    <dgm:cxn modelId="{B625F66B-F053-4B35-96A1-42ACAC3B090B}" type="presParOf" srcId="{EDD7B7F2-FA70-419A-903F-9E50084F349F}" destId="{7E81A926-E6BD-477C-A835-E2B4F85A0BA3}" srcOrd="1" destOrd="0" presId="urn:microsoft.com/office/officeart/2005/8/layout/process1"/>
    <dgm:cxn modelId="{3021324A-818F-4EB3-91CE-9FB6401D22C6}" type="presParOf" srcId="{7E81A926-E6BD-477C-A835-E2B4F85A0BA3}" destId="{B802FB06-F231-4B6E-AF98-0F71D896387C}" srcOrd="0" destOrd="0" presId="urn:microsoft.com/office/officeart/2005/8/layout/process1"/>
    <dgm:cxn modelId="{1B5885B8-01DF-41A3-98E4-67666B26D175}" type="presParOf" srcId="{EDD7B7F2-FA70-419A-903F-9E50084F349F}" destId="{F998A994-B721-4087-B2EE-99B776423CA7}" srcOrd="2" destOrd="0" presId="urn:microsoft.com/office/officeart/2005/8/layout/process1"/>
    <dgm:cxn modelId="{68774DDF-FEEC-4A01-99B0-EEA54AB91487}" type="presParOf" srcId="{EDD7B7F2-FA70-419A-903F-9E50084F349F}" destId="{1C988EA7-614A-4F6D-B86E-2838E73C6D1F}" srcOrd="3" destOrd="0" presId="urn:microsoft.com/office/officeart/2005/8/layout/process1"/>
    <dgm:cxn modelId="{75327D95-5E92-43A6-B478-9FEC17E94389}" type="presParOf" srcId="{1C988EA7-614A-4F6D-B86E-2838E73C6D1F}" destId="{457C0A4B-DA70-4FC4-B932-F3545F358871}" srcOrd="0" destOrd="0" presId="urn:microsoft.com/office/officeart/2005/8/layout/process1"/>
    <dgm:cxn modelId="{BC59D4E6-1684-412B-80E9-963F630DE2B5}" type="presParOf" srcId="{EDD7B7F2-FA70-419A-903F-9E50084F349F}" destId="{05BF727D-CBC7-4A47-8872-DC32037EC0A7}"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7D32629-41B2-4287-8F0E-CB38D1C210F8}" type="doc">
      <dgm:prSet loTypeId="urn:microsoft.com/office/officeart/2018/2/layout/IconLabel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11E3DAA-97AC-4AB7-98A5-5FC1C82D9572}">
      <dgm:prSet/>
      <dgm:spPr/>
      <dgm:t>
        <a:bodyPr/>
        <a:lstStyle/>
        <a:p>
          <a:r>
            <a:rPr lang="de-DE" b="1" dirty="0"/>
            <a:t>Allgemeine Standards</a:t>
          </a:r>
          <a:r>
            <a:rPr lang="de-DE" dirty="0"/>
            <a:t/>
          </a:r>
          <a:br>
            <a:rPr lang="de-DE" dirty="0"/>
          </a:br>
          <a:r>
            <a:rPr lang="de-DE" dirty="0"/>
            <a:t>ESRS 1 General </a:t>
          </a:r>
          <a:r>
            <a:rPr lang="de-DE" dirty="0" err="1"/>
            <a:t>Requirements</a:t>
          </a:r>
          <a:r>
            <a:rPr lang="de-DE" dirty="0"/>
            <a:t/>
          </a:r>
          <a:br>
            <a:rPr lang="de-DE" dirty="0"/>
          </a:br>
          <a:r>
            <a:rPr lang="de-DE" dirty="0"/>
            <a:t>ESRS 2 General Disclosures</a:t>
          </a:r>
          <a:endParaRPr lang="en-US" dirty="0"/>
        </a:p>
      </dgm:t>
    </dgm:pt>
    <dgm:pt modelId="{A31E6045-C88C-4A4C-8DE3-1B81018D7026}" type="parTrans" cxnId="{225A419E-686B-4D5D-86B9-78EA43F53B6D}">
      <dgm:prSet/>
      <dgm:spPr/>
      <dgm:t>
        <a:bodyPr/>
        <a:lstStyle/>
        <a:p>
          <a:endParaRPr lang="en-US"/>
        </a:p>
      </dgm:t>
    </dgm:pt>
    <dgm:pt modelId="{A540E09A-F394-4CF2-B9D9-0BFFE5495BBC}" type="sibTrans" cxnId="{225A419E-686B-4D5D-86B9-78EA43F53B6D}">
      <dgm:prSet/>
      <dgm:spPr/>
      <dgm:t>
        <a:bodyPr/>
        <a:lstStyle/>
        <a:p>
          <a:endParaRPr lang="en-US"/>
        </a:p>
      </dgm:t>
    </dgm:pt>
    <dgm:pt modelId="{BB9212F1-471D-437A-9B5B-4C4C20CFBA80}">
      <dgm:prSet/>
      <dgm:spPr/>
      <dgm:t>
        <a:bodyPr/>
        <a:lstStyle/>
        <a:p>
          <a:pPr algn="l"/>
          <a:r>
            <a:rPr lang="de-DE" b="1" dirty="0"/>
            <a:t>Umwelt</a:t>
          </a:r>
          <a:r>
            <a:rPr lang="de-DE" dirty="0"/>
            <a:t/>
          </a:r>
          <a:br>
            <a:rPr lang="de-DE" dirty="0"/>
          </a:br>
          <a:r>
            <a:rPr lang="de-DE" dirty="0"/>
            <a:t>ESRS E1 </a:t>
          </a:r>
          <a:r>
            <a:rPr lang="de-DE" dirty="0" err="1"/>
            <a:t>Climate</a:t>
          </a:r>
          <a:r>
            <a:rPr lang="de-DE" dirty="0"/>
            <a:t> </a:t>
          </a:r>
          <a:r>
            <a:rPr lang="de-DE" dirty="0" err="1"/>
            <a:t>change</a:t>
          </a:r>
          <a:r>
            <a:rPr lang="de-DE" dirty="0"/>
            <a:t/>
          </a:r>
          <a:br>
            <a:rPr lang="de-DE" dirty="0"/>
          </a:br>
          <a:r>
            <a:rPr lang="de-DE" dirty="0"/>
            <a:t>ESRS E2 Pollution</a:t>
          </a:r>
          <a:br>
            <a:rPr lang="de-DE" dirty="0"/>
          </a:br>
          <a:r>
            <a:rPr lang="de-DE" dirty="0"/>
            <a:t>ESRS E3 </a:t>
          </a:r>
          <a:r>
            <a:rPr lang="de-DE" dirty="0" err="1"/>
            <a:t>Water</a:t>
          </a:r>
          <a:r>
            <a:rPr lang="de-DE" dirty="0"/>
            <a:t> </a:t>
          </a:r>
          <a:r>
            <a:rPr lang="de-DE" dirty="0" err="1"/>
            <a:t>and</a:t>
          </a:r>
          <a:r>
            <a:rPr lang="de-DE" dirty="0"/>
            <a:t> Marine Resources</a:t>
          </a:r>
          <a:br>
            <a:rPr lang="de-DE" dirty="0"/>
          </a:br>
          <a:r>
            <a:rPr lang="de-DE" dirty="0"/>
            <a:t>ESRS E4 </a:t>
          </a:r>
          <a:r>
            <a:rPr lang="de-DE" dirty="0" err="1"/>
            <a:t>Biodiversity</a:t>
          </a:r>
          <a:r>
            <a:rPr lang="de-DE" dirty="0"/>
            <a:t> </a:t>
          </a:r>
          <a:r>
            <a:rPr lang="de-DE" dirty="0" err="1"/>
            <a:t>and</a:t>
          </a:r>
          <a:r>
            <a:rPr lang="de-DE" dirty="0"/>
            <a:t> </a:t>
          </a:r>
          <a:r>
            <a:rPr lang="de-DE" dirty="0" err="1"/>
            <a:t>Ecosystems</a:t>
          </a:r>
          <a:r>
            <a:rPr lang="de-DE" dirty="0"/>
            <a:t/>
          </a:r>
          <a:br>
            <a:rPr lang="de-DE" dirty="0"/>
          </a:br>
          <a:r>
            <a:rPr lang="de-DE" dirty="0"/>
            <a:t>ESRS E5 </a:t>
          </a:r>
          <a:r>
            <a:rPr lang="de-DE" dirty="0" err="1"/>
            <a:t>Resource</a:t>
          </a:r>
          <a:r>
            <a:rPr lang="de-DE" dirty="0"/>
            <a:t> </a:t>
          </a:r>
          <a:r>
            <a:rPr lang="de-DE" dirty="0" err="1"/>
            <a:t>use</a:t>
          </a:r>
          <a:r>
            <a:rPr lang="de-DE" dirty="0"/>
            <a:t> </a:t>
          </a:r>
          <a:r>
            <a:rPr lang="de-DE" dirty="0" err="1"/>
            <a:t>and</a:t>
          </a:r>
          <a:r>
            <a:rPr lang="de-DE" dirty="0"/>
            <a:t> </a:t>
          </a:r>
          <a:r>
            <a:rPr lang="de-DE" dirty="0" err="1"/>
            <a:t>Circular</a:t>
          </a:r>
          <a:r>
            <a:rPr lang="de-DE" dirty="0"/>
            <a:t> Economy</a:t>
          </a:r>
          <a:endParaRPr lang="en-US" dirty="0"/>
        </a:p>
      </dgm:t>
    </dgm:pt>
    <dgm:pt modelId="{A88679CE-E874-4D71-972B-E9F3616327D1}" type="parTrans" cxnId="{CA72DF0E-3A76-4052-9AC2-3F39D74E5EFB}">
      <dgm:prSet/>
      <dgm:spPr/>
      <dgm:t>
        <a:bodyPr/>
        <a:lstStyle/>
        <a:p>
          <a:endParaRPr lang="en-US"/>
        </a:p>
      </dgm:t>
    </dgm:pt>
    <dgm:pt modelId="{2026FA1C-4DF5-44A8-8A8C-A4F48D007F97}" type="sibTrans" cxnId="{CA72DF0E-3A76-4052-9AC2-3F39D74E5EFB}">
      <dgm:prSet/>
      <dgm:spPr/>
      <dgm:t>
        <a:bodyPr/>
        <a:lstStyle/>
        <a:p>
          <a:endParaRPr lang="en-US"/>
        </a:p>
      </dgm:t>
    </dgm:pt>
    <dgm:pt modelId="{766D188D-F45C-4A68-8393-6D58D106EA37}">
      <dgm:prSet/>
      <dgm:spPr/>
      <dgm:t>
        <a:bodyPr/>
        <a:lstStyle/>
        <a:p>
          <a:pPr algn="l"/>
          <a:r>
            <a:rPr lang="de-DE" b="1" dirty="0"/>
            <a:t>Soziales</a:t>
          </a:r>
          <a:r>
            <a:rPr lang="de-DE" dirty="0"/>
            <a:t/>
          </a:r>
          <a:br>
            <a:rPr lang="de-DE" dirty="0"/>
          </a:br>
          <a:r>
            <a:rPr lang="de-DE" dirty="0"/>
            <a:t>ESRS S1 </a:t>
          </a:r>
          <a:r>
            <a:rPr lang="de-DE" dirty="0" err="1"/>
            <a:t>Own</a:t>
          </a:r>
          <a:r>
            <a:rPr lang="de-DE" dirty="0"/>
            <a:t> </a:t>
          </a:r>
          <a:r>
            <a:rPr lang="de-DE" dirty="0" err="1"/>
            <a:t>Workforce</a:t>
          </a:r>
          <a:r>
            <a:rPr lang="de-DE" dirty="0"/>
            <a:t/>
          </a:r>
          <a:br>
            <a:rPr lang="de-DE" dirty="0"/>
          </a:br>
          <a:r>
            <a:rPr lang="de-DE" dirty="0"/>
            <a:t>ESRS S2 </a:t>
          </a:r>
          <a:r>
            <a:rPr lang="de-DE" dirty="0" err="1"/>
            <a:t>Workers</a:t>
          </a:r>
          <a:r>
            <a:rPr lang="de-DE" dirty="0"/>
            <a:t> in </a:t>
          </a:r>
          <a:r>
            <a:rPr lang="de-DE" dirty="0" err="1"/>
            <a:t>the</a:t>
          </a:r>
          <a:r>
            <a:rPr lang="de-DE" dirty="0"/>
            <a:t> Value Chain</a:t>
          </a:r>
          <a:br>
            <a:rPr lang="de-DE" dirty="0"/>
          </a:br>
          <a:r>
            <a:rPr lang="de-DE" dirty="0"/>
            <a:t>ESRS S3 </a:t>
          </a:r>
          <a:r>
            <a:rPr lang="de-DE" dirty="0" err="1"/>
            <a:t>Affected</a:t>
          </a:r>
          <a:r>
            <a:rPr lang="de-DE" dirty="0"/>
            <a:t> Communities</a:t>
          </a:r>
          <a:br>
            <a:rPr lang="de-DE" dirty="0"/>
          </a:br>
          <a:r>
            <a:rPr lang="de-DE" dirty="0"/>
            <a:t>ESRS S4 </a:t>
          </a:r>
          <a:r>
            <a:rPr lang="de-DE" dirty="0" err="1"/>
            <a:t>Consumers</a:t>
          </a:r>
          <a:r>
            <a:rPr lang="de-DE" dirty="0"/>
            <a:t> / End Users</a:t>
          </a:r>
          <a:endParaRPr lang="en-US" dirty="0"/>
        </a:p>
      </dgm:t>
    </dgm:pt>
    <dgm:pt modelId="{7E1C2FA8-2424-41DB-B23F-4802F352E3B3}" type="parTrans" cxnId="{F59DB72A-5059-47FB-A243-3BF56167530F}">
      <dgm:prSet/>
      <dgm:spPr/>
      <dgm:t>
        <a:bodyPr/>
        <a:lstStyle/>
        <a:p>
          <a:endParaRPr lang="en-US"/>
        </a:p>
      </dgm:t>
    </dgm:pt>
    <dgm:pt modelId="{FAAF51E6-227F-4615-A122-7F58B67161F0}" type="sibTrans" cxnId="{F59DB72A-5059-47FB-A243-3BF56167530F}">
      <dgm:prSet/>
      <dgm:spPr/>
      <dgm:t>
        <a:bodyPr/>
        <a:lstStyle/>
        <a:p>
          <a:endParaRPr lang="en-US"/>
        </a:p>
      </dgm:t>
    </dgm:pt>
    <dgm:pt modelId="{3719AFAD-9CF5-4459-8DB8-0A99282B8E48}">
      <dgm:prSet/>
      <dgm:spPr/>
      <dgm:t>
        <a:bodyPr/>
        <a:lstStyle/>
        <a:p>
          <a:r>
            <a:rPr lang="de-DE" b="1"/>
            <a:t>Governance</a:t>
          </a:r>
          <a:r>
            <a:rPr lang="de-DE"/>
            <a:t/>
          </a:r>
          <a:br>
            <a:rPr lang="de-DE"/>
          </a:br>
          <a:r>
            <a:rPr lang="de-DE"/>
            <a:t>ESRS G1 Business Conduct</a:t>
          </a:r>
          <a:endParaRPr lang="en-US"/>
        </a:p>
      </dgm:t>
    </dgm:pt>
    <dgm:pt modelId="{3874948A-35DD-46CA-9B0D-D3319FB0EEAA}" type="parTrans" cxnId="{D4A728A6-574C-46DC-99AE-3059DB4CD8CA}">
      <dgm:prSet/>
      <dgm:spPr/>
      <dgm:t>
        <a:bodyPr/>
        <a:lstStyle/>
        <a:p>
          <a:endParaRPr lang="en-US"/>
        </a:p>
      </dgm:t>
    </dgm:pt>
    <dgm:pt modelId="{F2CA5D30-3D66-4F17-A7B4-7B959671E610}" type="sibTrans" cxnId="{D4A728A6-574C-46DC-99AE-3059DB4CD8CA}">
      <dgm:prSet/>
      <dgm:spPr/>
      <dgm:t>
        <a:bodyPr/>
        <a:lstStyle/>
        <a:p>
          <a:endParaRPr lang="en-US"/>
        </a:p>
      </dgm:t>
    </dgm:pt>
    <dgm:pt modelId="{1B405984-A97F-4185-ADAD-E0464911AA26}" type="pres">
      <dgm:prSet presAssocID="{F7D32629-41B2-4287-8F0E-CB38D1C210F8}" presName="root" presStyleCnt="0">
        <dgm:presLayoutVars>
          <dgm:dir/>
          <dgm:resizeHandles val="exact"/>
        </dgm:presLayoutVars>
      </dgm:prSet>
      <dgm:spPr/>
      <dgm:t>
        <a:bodyPr/>
        <a:lstStyle/>
        <a:p>
          <a:endParaRPr lang="de-DE"/>
        </a:p>
      </dgm:t>
    </dgm:pt>
    <dgm:pt modelId="{05A568BF-EFB5-418B-9EDC-84450DDF0803}" type="pres">
      <dgm:prSet presAssocID="{D11E3DAA-97AC-4AB7-98A5-5FC1C82D9572}" presName="compNode" presStyleCnt="0"/>
      <dgm:spPr/>
    </dgm:pt>
    <dgm:pt modelId="{521A634C-BBBB-47A9-A84E-11E46C379BD1}" type="pres">
      <dgm:prSet presAssocID="{D11E3DAA-97AC-4AB7-98A5-5FC1C82D9572}"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a:blipFill>
        <a:ln>
          <a:noFill/>
        </a:ln>
      </dgm:spPr>
      <dgm:t>
        <a:bodyPr/>
        <a:lstStyle/>
        <a:p>
          <a:endParaRPr lang="de-DE"/>
        </a:p>
      </dgm:t>
      <dgm:extLst>
        <a:ext uri="{E40237B7-FDA0-4F09-8148-C483321AD2D9}">
          <dgm14:cNvPr xmlns:dgm14="http://schemas.microsoft.com/office/drawing/2010/diagram" id="0" name="" descr="Häkchen"/>
        </a:ext>
      </dgm:extLst>
    </dgm:pt>
    <dgm:pt modelId="{D8DA166C-1662-4A50-A6F5-71AA3A5E5259}" type="pres">
      <dgm:prSet presAssocID="{D11E3DAA-97AC-4AB7-98A5-5FC1C82D9572}" presName="spaceRect" presStyleCnt="0"/>
      <dgm:spPr/>
    </dgm:pt>
    <dgm:pt modelId="{36AE00C0-0ADC-4143-AD6B-F214DECB23EE}" type="pres">
      <dgm:prSet presAssocID="{D11E3DAA-97AC-4AB7-98A5-5FC1C82D9572}" presName="textRect" presStyleLbl="revTx" presStyleIdx="0" presStyleCnt="4" custScaleX="124757">
        <dgm:presLayoutVars>
          <dgm:chMax val="1"/>
          <dgm:chPref val="1"/>
        </dgm:presLayoutVars>
      </dgm:prSet>
      <dgm:spPr/>
      <dgm:t>
        <a:bodyPr/>
        <a:lstStyle/>
        <a:p>
          <a:endParaRPr lang="de-DE"/>
        </a:p>
      </dgm:t>
    </dgm:pt>
    <dgm:pt modelId="{ED236E72-8F49-426D-B442-493DD820434D}" type="pres">
      <dgm:prSet presAssocID="{A540E09A-F394-4CF2-B9D9-0BFFE5495BBC}" presName="sibTrans" presStyleCnt="0"/>
      <dgm:spPr/>
    </dgm:pt>
    <dgm:pt modelId="{64FB7E68-7EF3-4290-8EE5-A985C5E60421}" type="pres">
      <dgm:prSet presAssocID="{BB9212F1-471D-437A-9B5B-4C4C20CFBA80}" presName="compNode" presStyleCnt="0"/>
      <dgm:spPr/>
    </dgm:pt>
    <dgm:pt modelId="{733D756D-2E79-428F-8163-F7DEC2C74C61}" type="pres">
      <dgm:prSet presAssocID="{BB9212F1-471D-437A-9B5B-4C4C20CFBA80}" presName="iconRect" presStyleLbl="node1" presStyleIdx="1"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a:blipFill>
        <a:ln>
          <a:noFill/>
        </a:ln>
      </dgm:spPr>
      <dgm:t>
        <a:bodyPr/>
        <a:lstStyle/>
        <a:p>
          <a:endParaRPr lang="de-DE"/>
        </a:p>
      </dgm:t>
      <dgm:extLst>
        <a:ext uri="{E40237B7-FDA0-4F09-8148-C483321AD2D9}">
          <dgm14:cNvPr xmlns:dgm14="http://schemas.microsoft.com/office/drawing/2010/diagram" id="0" name="" descr="Wal"/>
        </a:ext>
      </dgm:extLst>
    </dgm:pt>
    <dgm:pt modelId="{02A2BFA1-13B8-40BD-9A26-883234F341AC}" type="pres">
      <dgm:prSet presAssocID="{BB9212F1-471D-437A-9B5B-4C4C20CFBA80}" presName="spaceRect" presStyleCnt="0"/>
      <dgm:spPr/>
    </dgm:pt>
    <dgm:pt modelId="{80670423-C685-4E85-9276-77042DA96354}" type="pres">
      <dgm:prSet presAssocID="{BB9212F1-471D-437A-9B5B-4C4C20CFBA80}" presName="textRect" presStyleLbl="revTx" presStyleIdx="1" presStyleCnt="4" custScaleX="172121">
        <dgm:presLayoutVars>
          <dgm:chMax val="1"/>
          <dgm:chPref val="1"/>
        </dgm:presLayoutVars>
      </dgm:prSet>
      <dgm:spPr/>
      <dgm:t>
        <a:bodyPr/>
        <a:lstStyle/>
        <a:p>
          <a:endParaRPr lang="de-DE"/>
        </a:p>
      </dgm:t>
    </dgm:pt>
    <dgm:pt modelId="{BC578221-547B-43F0-9913-B91432BDE66C}" type="pres">
      <dgm:prSet presAssocID="{2026FA1C-4DF5-44A8-8A8C-A4F48D007F97}" presName="sibTrans" presStyleCnt="0"/>
      <dgm:spPr/>
    </dgm:pt>
    <dgm:pt modelId="{D09F3C3F-6E9D-429B-ADA5-3CAD4434458B}" type="pres">
      <dgm:prSet presAssocID="{766D188D-F45C-4A68-8393-6D58D106EA37}" presName="compNode" presStyleCnt="0"/>
      <dgm:spPr/>
    </dgm:pt>
    <dgm:pt modelId="{16321E5B-E0D9-47D5-A1EA-D80BCEB76DF4}" type="pres">
      <dgm:prSet presAssocID="{766D188D-F45C-4A68-8393-6D58D106EA37}" presName="iconRect" presStyleLbl="node1" presStyleIdx="2"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a:blipFill>
        <a:ln>
          <a:noFill/>
        </a:ln>
      </dgm:spPr>
      <dgm:t>
        <a:bodyPr/>
        <a:lstStyle/>
        <a:p>
          <a:endParaRPr lang="de-DE"/>
        </a:p>
      </dgm:t>
      <dgm:extLst>
        <a:ext uri="{E40237B7-FDA0-4F09-8148-C483321AD2D9}">
          <dgm14:cNvPr xmlns:dgm14="http://schemas.microsoft.com/office/drawing/2010/diagram" id="0" name="" descr="Gruppe von Männern"/>
        </a:ext>
      </dgm:extLst>
    </dgm:pt>
    <dgm:pt modelId="{A9C97FC5-1527-4CED-862C-66221423CB22}" type="pres">
      <dgm:prSet presAssocID="{766D188D-F45C-4A68-8393-6D58D106EA37}" presName="spaceRect" presStyleCnt="0"/>
      <dgm:spPr/>
    </dgm:pt>
    <dgm:pt modelId="{9B10AD00-8862-44C6-906A-67D5F52CD0D3}" type="pres">
      <dgm:prSet presAssocID="{766D188D-F45C-4A68-8393-6D58D106EA37}" presName="textRect" presStyleLbl="revTx" presStyleIdx="2" presStyleCnt="4" custScaleX="127479">
        <dgm:presLayoutVars>
          <dgm:chMax val="1"/>
          <dgm:chPref val="1"/>
        </dgm:presLayoutVars>
      </dgm:prSet>
      <dgm:spPr/>
      <dgm:t>
        <a:bodyPr/>
        <a:lstStyle/>
        <a:p>
          <a:endParaRPr lang="de-DE"/>
        </a:p>
      </dgm:t>
    </dgm:pt>
    <dgm:pt modelId="{09C6708E-DD3F-41D8-82A6-293A546BF1E4}" type="pres">
      <dgm:prSet presAssocID="{FAAF51E6-227F-4615-A122-7F58B67161F0}" presName="sibTrans" presStyleCnt="0"/>
      <dgm:spPr/>
    </dgm:pt>
    <dgm:pt modelId="{FEB71EEF-54D2-4E43-9166-E0B1A489B100}" type="pres">
      <dgm:prSet presAssocID="{3719AFAD-9CF5-4459-8DB8-0A99282B8E48}" presName="compNode" presStyleCnt="0"/>
      <dgm:spPr/>
    </dgm:pt>
    <dgm:pt modelId="{5600640B-2C42-4100-96EA-AF484EB45DAE}" type="pres">
      <dgm:prSet presAssocID="{3719AFAD-9CF5-4459-8DB8-0A99282B8E48}" presName="iconRect" presStyleLbl="node1" presStyleIdx="3" presStyleCnt="4"/>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a:blipFill>
        <a:ln>
          <a:noFill/>
        </a:ln>
      </dgm:spPr>
      <dgm:t>
        <a:bodyPr/>
        <a:lstStyle/>
        <a:p>
          <a:endParaRPr lang="de-DE"/>
        </a:p>
      </dgm:t>
      <dgm:extLst>
        <a:ext uri="{E40237B7-FDA0-4F09-8148-C483321AD2D9}">
          <dgm14:cNvPr xmlns:dgm14="http://schemas.microsoft.com/office/drawing/2010/diagram" id="0" name="" descr="Besprechung"/>
        </a:ext>
      </dgm:extLst>
    </dgm:pt>
    <dgm:pt modelId="{7013FEEA-BE69-4844-AB3F-05C17E2883F5}" type="pres">
      <dgm:prSet presAssocID="{3719AFAD-9CF5-4459-8DB8-0A99282B8E48}" presName="spaceRect" presStyleCnt="0"/>
      <dgm:spPr/>
    </dgm:pt>
    <dgm:pt modelId="{8632458E-2E37-420F-96A5-CE64307D5974}" type="pres">
      <dgm:prSet presAssocID="{3719AFAD-9CF5-4459-8DB8-0A99282B8E48}" presName="textRect" presStyleLbl="revTx" presStyleIdx="3" presStyleCnt="4">
        <dgm:presLayoutVars>
          <dgm:chMax val="1"/>
          <dgm:chPref val="1"/>
        </dgm:presLayoutVars>
      </dgm:prSet>
      <dgm:spPr/>
      <dgm:t>
        <a:bodyPr/>
        <a:lstStyle/>
        <a:p>
          <a:endParaRPr lang="de-DE"/>
        </a:p>
      </dgm:t>
    </dgm:pt>
  </dgm:ptLst>
  <dgm:cxnLst>
    <dgm:cxn modelId="{CA72DF0E-3A76-4052-9AC2-3F39D74E5EFB}" srcId="{F7D32629-41B2-4287-8F0E-CB38D1C210F8}" destId="{BB9212F1-471D-437A-9B5B-4C4C20CFBA80}" srcOrd="1" destOrd="0" parTransId="{A88679CE-E874-4D71-972B-E9F3616327D1}" sibTransId="{2026FA1C-4DF5-44A8-8A8C-A4F48D007F97}"/>
    <dgm:cxn modelId="{49212995-AE40-4389-B2B0-0DEB827C6FE3}" type="presOf" srcId="{BB9212F1-471D-437A-9B5B-4C4C20CFBA80}" destId="{80670423-C685-4E85-9276-77042DA96354}" srcOrd="0" destOrd="0" presId="urn:microsoft.com/office/officeart/2018/2/layout/IconLabelList"/>
    <dgm:cxn modelId="{CA01ED4A-6D5B-4858-9AAE-B846AF84D890}" type="presOf" srcId="{3719AFAD-9CF5-4459-8DB8-0A99282B8E48}" destId="{8632458E-2E37-420F-96A5-CE64307D5974}" srcOrd="0" destOrd="0" presId="urn:microsoft.com/office/officeart/2018/2/layout/IconLabelList"/>
    <dgm:cxn modelId="{5355A536-BC3B-4F05-A15D-BE992CE137F7}" type="presOf" srcId="{D11E3DAA-97AC-4AB7-98A5-5FC1C82D9572}" destId="{36AE00C0-0ADC-4143-AD6B-F214DECB23EE}" srcOrd="0" destOrd="0" presId="urn:microsoft.com/office/officeart/2018/2/layout/IconLabelList"/>
    <dgm:cxn modelId="{DE233D32-7CD2-453E-A4BB-BFCE570D4ABE}" type="presOf" srcId="{F7D32629-41B2-4287-8F0E-CB38D1C210F8}" destId="{1B405984-A97F-4185-ADAD-E0464911AA26}" srcOrd="0" destOrd="0" presId="urn:microsoft.com/office/officeart/2018/2/layout/IconLabelList"/>
    <dgm:cxn modelId="{D4A728A6-574C-46DC-99AE-3059DB4CD8CA}" srcId="{F7D32629-41B2-4287-8F0E-CB38D1C210F8}" destId="{3719AFAD-9CF5-4459-8DB8-0A99282B8E48}" srcOrd="3" destOrd="0" parTransId="{3874948A-35DD-46CA-9B0D-D3319FB0EEAA}" sibTransId="{F2CA5D30-3D66-4F17-A7B4-7B959671E610}"/>
    <dgm:cxn modelId="{F59DB72A-5059-47FB-A243-3BF56167530F}" srcId="{F7D32629-41B2-4287-8F0E-CB38D1C210F8}" destId="{766D188D-F45C-4A68-8393-6D58D106EA37}" srcOrd="2" destOrd="0" parTransId="{7E1C2FA8-2424-41DB-B23F-4802F352E3B3}" sibTransId="{FAAF51E6-227F-4615-A122-7F58B67161F0}"/>
    <dgm:cxn modelId="{225A419E-686B-4D5D-86B9-78EA43F53B6D}" srcId="{F7D32629-41B2-4287-8F0E-CB38D1C210F8}" destId="{D11E3DAA-97AC-4AB7-98A5-5FC1C82D9572}" srcOrd="0" destOrd="0" parTransId="{A31E6045-C88C-4A4C-8DE3-1B81018D7026}" sibTransId="{A540E09A-F394-4CF2-B9D9-0BFFE5495BBC}"/>
    <dgm:cxn modelId="{71C57EBE-00CE-437C-9381-4D948095614D}" type="presOf" srcId="{766D188D-F45C-4A68-8393-6D58D106EA37}" destId="{9B10AD00-8862-44C6-906A-67D5F52CD0D3}" srcOrd="0" destOrd="0" presId="urn:microsoft.com/office/officeart/2018/2/layout/IconLabelList"/>
    <dgm:cxn modelId="{81A260B4-99DF-4558-BAD3-B7754FCDE470}" type="presParOf" srcId="{1B405984-A97F-4185-ADAD-E0464911AA26}" destId="{05A568BF-EFB5-418B-9EDC-84450DDF0803}" srcOrd="0" destOrd="0" presId="urn:microsoft.com/office/officeart/2018/2/layout/IconLabelList"/>
    <dgm:cxn modelId="{DEE5172A-ABA3-436C-9CAA-7746707ACF64}" type="presParOf" srcId="{05A568BF-EFB5-418B-9EDC-84450DDF0803}" destId="{521A634C-BBBB-47A9-A84E-11E46C379BD1}" srcOrd="0" destOrd="0" presId="urn:microsoft.com/office/officeart/2018/2/layout/IconLabelList"/>
    <dgm:cxn modelId="{E12174E2-056E-4FD5-BD4B-8F6C8B1C7EF4}" type="presParOf" srcId="{05A568BF-EFB5-418B-9EDC-84450DDF0803}" destId="{D8DA166C-1662-4A50-A6F5-71AA3A5E5259}" srcOrd="1" destOrd="0" presId="urn:microsoft.com/office/officeart/2018/2/layout/IconLabelList"/>
    <dgm:cxn modelId="{D3FAB844-4C69-4878-8039-171058F7ACDA}" type="presParOf" srcId="{05A568BF-EFB5-418B-9EDC-84450DDF0803}" destId="{36AE00C0-0ADC-4143-AD6B-F214DECB23EE}" srcOrd="2" destOrd="0" presId="urn:microsoft.com/office/officeart/2018/2/layout/IconLabelList"/>
    <dgm:cxn modelId="{BE12B008-5AD9-4BCB-8431-407D74EED4A4}" type="presParOf" srcId="{1B405984-A97F-4185-ADAD-E0464911AA26}" destId="{ED236E72-8F49-426D-B442-493DD820434D}" srcOrd="1" destOrd="0" presId="urn:microsoft.com/office/officeart/2018/2/layout/IconLabelList"/>
    <dgm:cxn modelId="{02ADF378-0390-43CA-9821-F940AB8174F4}" type="presParOf" srcId="{1B405984-A97F-4185-ADAD-E0464911AA26}" destId="{64FB7E68-7EF3-4290-8EE5-A985C5E60421}" srcOrd="2" destOrd="0" presId="urn:microsoft.com/office/officeart/2018/2/layout/IconLabelList"/>
    <dgm:cxn modelId="{59DF24E2-6B78-40C8-913E-506FC951DE59}" type="presParOf" srcId="{64FB7E68-7EF3-4290-8EE5-A985C5E60421}" destId="{733D756D-2E79-428F-8163-F7DEC2C74C61}" srcOrd="0" destOrd="0" presId="urn:microsoft.com/office/officeart/2018/2/layout/IconLabelList"/>
    <dgm:cxn modelId="{9E83CE02-9DA3-4842-9C92-1284FDD35DEE}" type="presParOf" srcId="{64FB7E68-7EF3-4290-8EE5-A985C5E60421}" destId="{02A2BFA1-13B8-40BD-9A26-883234F341AC}" srcOrd="1" destOrd="0" presId="urn:microsoft.com/office/officeart/2018/2/layout/IconLabelList"/>
    <dgm:cxn modelId="{6EE2360B-2577-4C69-BFBF-5DE28728A2AF}" type="presParOf" srcId="{64FB7E68-7EF3-4290-8EE5-A985C5E60421}" destId="{80670423-C685-4E85-9276-77042DA96354}" srcOrd="2" destOrd="0" presId="urn:microsoft.com/office/officeart/2018/2/layout/IconLabelList"/>
    <dgm:cxn modelId="{AAA45C5A-E346-43B2-A7F5-2C38720D1F25}" type="presParOf" srcId="{1B405984-A97F-4185-ADAD-E0464911AA26}" destId="{BC578221-547B-43F0-9913-B91432BDE66C}" srcOrd="3" destOrd="0" presId="urn:microsoft.com/office/officeart/2018/2/layout/IconLabelList"/>
    <dgm:cxn modelId="{1FB23F03-CABB-4BDE-BDCE-CC8370E4DBF0}" type="presParOf" srcId="{1B405984-A97F-4185-ADAD-E0464911AA26}" destId="{D09F3C3F-6E9D-429B-ADA5-3CAD4434458B}" srcOrd="4" destOrd="0" presId="urn:microsoft.com/office/officeart/2018/2/layout/IconLabelList"/>
    <dgm:cxn modelId="{CB8604B6-2C1A-4277-A3E0-938AE64DD0FD}" type="presParOf" srcId="{D09F3C3F-6E9D-429B-ADA5-3CAD4434458B}" destId="{16321E5B-E0D9-47D5-A1EA-D80BCEB76DF4}" srcOrd="0" destOrd="0" presId="urn:microsoft.com/office/officeart/2018/2/layout/IconLabelList"/>
    <dgm:cxn modelId="{4C136244-9228-4E51-A96D-7A7EB01D651C}" type="presParOf" srcId="{D09F3C3F-6E9D-429B-ADA5-3CAD4434458B}" destId="{A9C97FC5-1527-4CED-862C-66221423CB22}" srcOrd="1" destOrd="0" presId="urn:microsoft.com/office/officeart/2018/2/layout/IconLabelList"/>
    <dgm:cxn modelId="{86894BE0-7357-4A4E-BE6C-3C4DC78898B9}" type="presParOf" srcId="{D09F3C3F-6E9D-429B-ADA5-3CAD4434458B}" destId="{9B10AD00-8862-44C6-906A-67D5F52CD0D3}" srcOrd="2" destOrd="0" presId="urn:microsoft.com/office/officeart/2018/2/layout/IconLabelList"/>
    <dgm:cxn modelId="{DEFEFB23-3722-4CAA-A0CA-613EAEFD0E23}" type="presParOf" srcId="{1B405984-A97F-4185-ADAD-E0464911AA26}" destId="{09C6708E-DD3F-41D8-82A6-293A546BF1E4}" srcOrd="5" destOrd="0" presId="urn:microsoft.com/office/officeart/2018/2/layout/IconLabelList"/>
    <dgm:cxn modelId="{2701C6F8-D2A0-4D92-973F-0842FF007F1F}" type="presParOf" srcId="{1B405984-A97F-4185-ADAD-E0464911AA26}" destId="{FEB71EEF-54D2-4E43-9166-E0B1A489B100}" srcOrd="6" destOrd="0" presId="urn:microsoft.com/office/officeart/2018/2/layout/IconLabelList"/>
    <dgm:cxn modelId="{BADB8A5D-D006-4DDA-9302-2E9BE74F85FF}" type="presParOf" srcId="{FEB71EEF-54D2-4E43-9166-E0B1A489B100}" destId="{5600640B-2C42-4100-96EA-AF484EB45DAE}" srcOrd="0" destOrd="0" presId="urn:microsoft.com/office/officeart/2018/2/layout/IconLabelList"/>
    <dgm:cxn modelId="{85F63795-EB0C-4D92-B938-F4DE8AA816F4}" type="presParOf" srcId="{FEB71EEF-54D2-4E43-9166-E0B1A489B100}" destId="{7013FEEA-BE69-4844-AB3F-05C17E2883F5}" srcOrd="1" destOrd="0" presId="urn:microsoft.com/office/officeart/2018/2/layout/IconLabelList"/>
    <dgm:cxn modelId="{7B7A220F-4CFC-4BDD-B4DB-DED9F82C3E3D}" type="presParOf" srcId="{FEB71EEF-54D2-4E43-9166-E0B1A489B100}" destId="{8632458E-2E37-420F-96A5-CE64307D5974}"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BDEA429-4336-43AA-B290-96A78B9C9C0C}"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de-DE"/>
        </a:p>
      </dgm:t>
    </dgm:pt>
    <dgm:pt modelId="{DBA5557D-5E9E-4244-8299-297B43B3053A}">
      <dgm:prSet phldrT="[Text]"/>
      <dgm:spPr/>
      <dgm:t>
        <a:bodyPr/>
        <a:lstStyle/>
        <a:p>
          <a:r>
            <a:rPr lang="de-DE" dirty="0" smtClean="0"/>
            <a:t>Fehlendes Know-how</a:t>
          </a:r>
          <a:r>
            <a:rPr lang="de-DE" baseline="0" dirty="0" smtClean="0"/>
            <a:t> und einfach handhabbare Instrumentarien, um Nachhaltigkeit im Unternehmen systematisch planen und messen zu können.</a:t>
          </a:r>
          <a:endParaRPr lang="de-DE" dirty="0"/>
        </a:p>
      </dgm:t>
    </dgm:pt>
    <dgm:pt modelId="{D51CBA08-86DA-4C4C-A570-EF6A8FF5B29D}" type="parTrans" cxnId="{A17B5368-CB2B-406D-BE37-976ED32B1FDD}">
      <dgm:prSet/>
      <dgm:spPr/>
      <dgm:t>
        <a:bodyPr/>
        <a:lstStyle/>
        <a:p>
          <a:endParaRPr lang="de-DE"/>
        </a:p>
      </dgm:t>
    </dgm:pt>
    <dgm:pt modelId="{81B2CD72-3391-4CF6-B443-FC696A551CB1}" type="sibTrans" cxnId="{A17B5368-CB2B-406D-BE37-976ED32B1FDD}">
      <dgm:prSet/>
      <dgm:spPr/>
      <dgm:t>
        <a:bodyPr/>
        <a:lstStyle/>
        <a:p>
          <a:endParaRPr lang="de-DE"/>
        </a:p>
      </dgm:t>
    </dgm:pt>
    <dgm:pt modelId="{DFF85C37-DCDF-4D73-BC15-A2843D16A664}">
      <dgm:prSet/>
      <dgm:spPr/>
      <dgm:t>
        <a:bodyPr/>
        <a:lstStyle/>
        <a:p>
          <a:r>
            <a:rPr lang="de-DE" baseline="0" smtClean="0"/>
            <a:t>Mangelnde Verfügbarkeit relevanter Daten, sodass Effekte einzelner Steuerungsmaßnahmen nicht präzise zu ermitteln sind.</a:t>
          </a:r>
          <a:endParaRPr lang="de-DE" baseline="0" dirty="0" smtClean="0"/>
        </a:p>
      </dgm:t>
    </dgm:pt>
    <dgm:pt modelId="{8295AD1D-F869-4AE2-9A90-CAD378B7DB1E}" type="parTrans" cxnId="{534F3C39-DCCE-4BF5-8A13-F1FF74E659FB}">
      <dgm:prSet/>
      <dgm:spPr/>
      <dgm:t>
        <a:bodyPr/>
        <a:lstStyle/>
        <a:p>
          <a:endParaRPr lang="de-DE"/>
        </a:p>
      </dgm:t>
    </dgm:pt>
    <dgm:pt modelId="{D1ECD4B4-C110-44B8-834D-8E7ACB1B8055}" type="sibTrans" cxnId="{534F3C39-DCCE-4BF5-8A13-F1FF74E659FB}">
      <dgm:prSet/>
      <dgm:spPr/>
      <dgm:t>
        <a:bodyPr/>
        <a:lstStyle/>
        <a:p>
          <a:endParaRPr lang="de-DE"/>
        </a:p>
      </dgm:t>
    </dgm:pt>
    <dgm:pt modelId="{F3BC07AF-DEA1-4F88-9B85-C4BBABF5A2B3}">
      <dgm:prSet/>
      <dgm:spPr/>
      <dgm:t>
        <a:bodyPr/>
        <a:lstStyle/>
        <a:p>
          <a:r>
            <a:rPr lang="de-DE" baseline="0" smtClean="0"/>
            <a:t>Wo anfangen?</a:t>
          </a:r>
          <a:endParaRPr lang="de-DE" baseline="0" dirty="0" smtClean="0"/>
        </a:p>
      </dgm:t>
    </dgm:pt>
    <dgm:pt modelId="{281DA8D1-160F-4BF4-A45E-6FD8A29F29F6}" type="parTrans" cxnId="{31E9387E-AF1A-435D-A723-71D17051509D}">
      <dgm:prSet/>
      <dgm:spPr/>
      <dgm:t>
        <a:bodyPr/>
        <a:lstStyle/>
        <a:p>
          <a:endParaRPr lang="de-DE"/>
        </a:p>
      </dgm:t>
    </dgm:pt>
    <dgm:pt modelId="{18DB3E7C-A6F7-4CE6-A2B4-591A6F49CEC6}" type="sibTrans" cxnId="{31E9387E-AF1A-435D-A723-71D17051509D}">
      <dgm:prSet/>
      <dgm:spPr/>
      <dgm:t>
        <a:bodyPr/>
        <a:lstStyle/>
        <a:p>
          <a:endParaRPr lang="de-DE"/>
        </a:p>
      </dgm:t>
    </dgm:pt>
    <dgm:pt modelId="{72062EDC-B64B-4E00-8BA0-3B3B04091FBF}">
      <dgm:prSet/>
      <dgm:spPr/>
      <dgm:t>
        <a:bodyPr/>
        <a:lstStyle/>
        <a:p>
          <a:r>
            <a:rPr lang="de-DE" baseline="0" smtClean="0"/>
            <a:t>Finanzierung erlaubt zumeist lediglich gesetzliche Mindestanforderungen.</a:t>
          </a:r>
          <a:endParaRPr lang="de-DE" dirty="0"/>
        </a:p>
      </dgm:t>
    </dgm:pt>
    <dgm:pt modelId="{F5401631-261E-4B1B-8824-7E8230699F3A}" type="parTrans" cxnId="{DA7B6E07-2237-46A0-8C97-D28BBA129521}">
      <dgm:prSet/>
      <dgm:spPr/>
      <dgm:t>
        <a:bodyPr/>
        <a:lstStyle/>
        <a:p>
          <a:endParaRPr lang="de-DE"/>
        </a:p>
      </dgm:t>
    </dgm:pt>
    <dgm:pt modelId="{DA239F0D-CE6A-4CC5-B285-48A2C062355E}" type="sibTrans" cxnId="{DA7B6E07-2237-46A0-8C97-D28BBA129521}">
      <dgm:prSet/>
      <dgm:spPr/>
      <dgm:t>
        <a:bodyPr/>
        <a:lstStyle/>
        <a:p>
          <a:endParaRPr lang="de-DE"/>
        </a:p>
      </dgm:t>
    </dgm:pt>
    <dgm:pt modelId="{658A7AF0-53FD-43D2-A9C0-0441A8F9BA47}" type="pres">
      <dgm:prSet presAssocID="{6BDEA429-4336-43AA-B290-96A78B9C9C0C}" presName="diagram" presStyleCnt="0">
        <dgm:presLayoutVars>
          <dgm:dir/>
          <dgm:resizeHandles val="exact"/>
        </dgm:presLayoutVars>
      </dgm:prSet>
      <dgm:spPr/>
    </dgm:pt>
    <dgm:pt modelId="{4849CE38-1FDE-4139-8853-C6BA671E58D7}" type="pres">
      <dgm:prSet presAssocID="{DBA5557D-5E9E-4244-8299-297B43B3053A}" presName="node" presStyleLbl="node1" presStyleIdx="0" presStyleCnt="4">
        <dgm:presLayoutVars>
          <dgm:bulletEnabled val="1"/>
        </dgm:presLayoutVars>
      </dgm:prSet>
      <dgm:spPr/>
      <dgm:t>
        <a:bodyPr/>
        <a:lstStyle/>
        <a:p>
          <a:endParaRPr lang="de-DE"/>
        </a:p>
      </dgm:t>
    </dgm:pt>
    <dgm:pt modelId="{28973E97-CB42-47FB-BBA6-3B2C6C53036D}" type="pres">
      <dgm:prSet presAssocID="{81B2CD72-3391-4CF6-B443-FC696A551CB1}" presName="sibTrans" presStyleCnt="0"/>
      <dgm:spPr/>
    </dgm:pt>
    <dgm:pt modelId="{F9308BCA-B9DA-4AAB-A91A-EB79A5AD8EBF}" type="pres">
      <dgm:prSet presAssocID="{DFF85C37-DCDF-4D73-BC15-A2843D16A664}" presName="node" presStyleLbl="node1" presStyleIdx="1" presStyleCnt="4">
        <dgm:presLayoutVars>
          <dgm:bulletEnabled val="1"/>
        </dgm:presLayoutVars>
      </dgm:prSet>
      <dgm:spPr/>
    </dgm:pt>
    <dgm:pt modelId="{678C345C-93E5-4CF3-8C6C-88994E79822E}" type="pres">
      <dgm:prSet presAssocID="{D1ECD4B4-C110-44B8-834D-8E7ACB1B8055}" presName="sibTrans" presStyleCnt="0"/>
      <dgm:spPr/>
    </dgm:pt>
    <dgm:pt modelId="{5DCB0F19-E495-42E0-9669-2A2110ADCB19}" type="pres">
      <dgm:prSet presAssocID="{F3BC07AF-DEA1-4F88-9B85-C4BBABF5A2B3}" presName="node" presStyleLbl="node1" presStyleIdx="2" presStyleCnt="4">
        <dgm:presLayoutVars>
          <dgm:bulletEnabled val="1"/>
        </dgm:presLayoutVars>
      </dgm:prSet>
      <dgm:spPr/>
    </dgm:pt>
    <dgm:pt modelId="{E09B6DAF-4CF7-4CDB-8995-2E99521B5507}" type="pres">
      <dgm:prSet presAssocID="{18DB3E7C-A6F7-4CE6-A2B4-591A6F49CEC6}" presName="sibTrans" presStyleCnt="0"/>
      <dgm:spPr/>
    </dgm:pt>
    <dgm:pt modelId="{B6A5BCDF-155A-4611-8882-E2B182039D0B}" type="pres">
      <dgm:prSet presAssocID="{72062EDC-B64B-4E00-8BA0-3B3B04091FBF}" presName="node" presStyleLbl="node1" presStyleIdx="3" presStyleCnt="4">
        <dgm:presLayoutVars>
          <dgm:bulletEnabled val="1"/>
        </dgm:presLayoutVars>
      </dgm:prSet>
      <dgm:spPr/>
    </dgm:pt>
  </dgm:ptLst>
  <dgm:cxnLst>
    <dgm:cxn modelId="{324A9DBA-4CB4-4255-AF0C-EF9FD9223F0D}" type="presOf" srcId="{F3BC07AF-DEA1-4F88-9B85-C4BBABF5A2B3}" destId="{5DCB0F19-E495-42E0-9669-2A2110ADCB19}" srcOrd="0" destOrd="0" presId="urn:microsoft.com/office/officeart/2005/8/layout/default"/>
    <dgm:cxn modelId="{796553E4-0552-4F5D-AA04-6174778CAAAB}" type="presOf" srcId="{DFF85C37-DCDF-4D73-BC15-A2843D16A664}" destId="{F9308BCA-B9DA-4AAB-A91A-EB79A5AD8EBF}" srcOrd="0" destOrd="0" presId="urn:microsoft.com/office/officeart/2005/8/layout/default"/>
    <dgm:cxn modelId="{A17B5368-CB2B-406D-BE37-976ED32B1FDD}" srcId="{6BDEA429-4336-43AA-B290-96A78B9C9C0C}" destId="{DBA5557D-5E9E-4244-8299-297B43B3053A}" srcOrd="0" destOrd="0" parTransId="{D51CBA08-86DA-4C4C-A570-EF6A8FF5B29D}" sibTransId="{81B2CD72-3391-4CF6-B443-FC696A551CB1}"/>
    <dgm:cxn modelId="{31E9387E-AF1A-435D-A723-71D17051509D}" srcId="{6BDEA429-4336-43AA-B290-96A78B9C9C0C}" destId="{F3BC07AF-DEA1-4F88-9B85-C4BBABF5A2B3}" srcOrd="2" destOrd="0" parTransId="{281DA8D1-160F-4BF4-A45E-6FD8A29F29F6}" sibTransId="{18DB3E7C-A6F7-4CE6-A2B4-591A6F49CEC6}"/>
    <dgm:cxn modelId="{631A56E3-1935-4E47-981A-3EE80E04A514}" type="presOf" srcId="{6BDEA429-4336-43AA-B290-96A78B9C9C0C}" destId="{658A7AF0-53FD-43D2-A9C0-0441A8F9BA47}" srcOrd="0" destOrd="0" presId="urn:microsoft.com/office/officeart/2005/8/layout/default"/>
    <dgm:cxn modelId="{12EF524A-BCC1-4032-B29A-49863A1315D3}" type="presOf" srcId="{72062EDC-B64B-4E00-8BA0-3B3B04091FBF}" destId="{B6A5BCDF-155A-4611-8882-E2B182039D0B}" srcOrd="0" destOrd="0" presId="urn:microsoft.com/office/officeart/2005/8/layout/default"/>
    <dgm:cxn modelId="{534F3C39-DCCE-4BF5-8A13-F1FF74E659FB}" srcId="{6BDEA429-4336-43AA-B290-96A78B9C9C0C}" destId="{DFF85C37-DCDF-4D73-BC15-A2843D16A664}" srcOrd="1" destOrd="0" parTransId="{8295AD1D-F869-4AE2-9A90-CAD378B7DB1E}" sibTransId="{D1ECD4B4-C110-44B8-834D-8E7ACB1B8055}"/>
    <dgm:cxn modelId="{DA7B6E07-2237-46A0-8C97-D28BBA129521}" srcId="{6BDEA429-4336-43AA-B290-96A78B9C9C0C}" destId="{72062EDC-B64B-4E00-8BA0-3B3B04091FBF}" srcOrd="3" destOrd="0" parTransId="{F5401631-261E-4B1B-8824-7E8230699F3A}" sibTransId="{DA239F0D-CE6A-4CC5-B285-48A2C062355E}"/>
    <dgm:cxn modelId="{275FBD1C-4D01-4B1D-ACE3-107D5C508DF6}" type="presOf" srcId="{DBA5557D-5E9E-4244-8299-297B43B3053A}" destId="{4849CE38-1FDE-4139-8853-C6BA671E58D7}" srcOrd="0" destOrd="0" presId="urn:microsoft.com/office/officeart/2005/8/layout/default"/>
    <dgm:cxn modelId="{2FB137DF-7355-4C35-A726-470A1CA67EC1}" type="presParOf" srcId="{658A7AF0-53FD-43D2-A9C0-0441A8F9BA47}" destId="{4849CE38-1FDE-4139-8853-C6BA671E58D7}" srcOrd="0" destOrd="0" presId="urn:microsoft.com/office/officeart/2005/8/layout/default"/>
    <dgm:cxn modelId="{2C68FD06-541D-473A-9D69-5AD525E260E9}" type="presParOf" srcId="{658A7AF0-53FD-43D2-A9C0-0441A8F9BA47}" destId="{28973E97-CB42-47FB-BBA6-3B2C6C53036D}" srcOrd="1" destOrd="0" presId="urn:microsoft.com/office/officeart/2005/8/layout/default"/>
    <dgm:cxn modelId="{BD12ADDC-A000-4D9F-BD0A-03A85E2B3ED4}" type="presParOf" srcId="{658A7AF0-53FD-43D2-A9C0-0441A8F9BA47}" destId="{F9308BCA-B9DA-4AAB-A91A-EB79A5AD8EBF}" srcOrd="2" destOrd="0" presId="urn:microsoft.com/office/officeart/2005/8/layout/default"/>
    <dgm:cxn modelId="{2639B6C0-7611-40F5-B371-6FA9C7F4380A}" type="presParOf" srcId="{658A7AF0-53FD-43D2-A9C0-0441A8F9BA47}" destId="{678C345C-93E5-4CF3-8C6C-88994E79822E}" srcOrd="3" destOrd="0" presId="urn:microsoft.com/office/officeart/2005/8/layout/default"/>
    <dgm:cxn modelId="{368B9215-C3D5-4AF3-AF0F-CFD1454CF5A1}" type="presParOf" srcId="{658A7AF0-53FD-43D2-A9C0-0441A8F9BA47}" destId="{5DCB0F19-E495-42E0-9669-2A2110ADCB19}" srcOrd="4" destOrd="0" presId="urn:microsoft.com/office/officeart/2005/8/layout/default"/>
    <dgm:cxn modelId="{AA74C9A2-68CB-4C54-83C2-D327D9DECC7A}" type="presParOf" srcId="{658A7AF0-53FD-43D2-A9C0-0441A8F9BA47}" destId="{E09B6DAF-4CF7-4CDB-8995-2E99521B5507}" srcOrd="5" destOrd="0" presId="urn:microsoft.com/office/officeart/2005/8/layout/default"/>
    <dgm:cxn modelId="{775A1F8A-74CF-4AB0-A75C-7BE4E7525618}" type="presParOf" srcId="{658A7AF0-53FD-43D2-A9C0-0441A8F9BA47}" destId="{B6A5BCDF-155A-4611-8882-E2B182039D0B}"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4110A9A-E66D-4079-B0CA-86405BC78F62}"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de-DE"/>
        </a:p>
      </dgm:t>
    </dgm:pt>
    <dgm:pt modelId="{AC9D2213-0E13-404E-A91E-FAC8AB02C8CA}">
      <dgm:prSet phldrT="[Text]"/>
      <dgm:spPr/>
      <dgm:t>
        <a:bodyPr/>
        <a:lstStyle/>
        <a:p>
          <a:r>
            <a:rPr lang="de-DE" smtClean="0"/>
            <a:t>Wettbewerbsvorteil (auch als AG)</a:t>
          </a:r>
          <a:endParaRPr lang="de-DE"/>
        </a:p>
      </dgm:t>
    </dgm:pt>
    <dgm:pt modelId="{9F25661B-40BF-4749-A7FB-A5DEAAF752DB}" type="parTrans" cxnId="{556A67A9-7931-4FA0-A562-197D6F3E03F5}">
      <dgm:prSet/>
      <dgm:spPr/>
      <dgm:t>
        <a:bodyPr/>
        <a:lstStyle/>
        <a:p>
          <a:endParaRPr lang="de-DE"/>
        </a:p>
      </dgm:t>
    </dgm:pt>
    <dgm:pt modelId="{30E3B32F-6DF2-4C1B-9EE8-1B9DBEBEC37A}" type="sibTrans" cxnId="{556A67A9-7931-4FA0-A562-197D6F3E03F5}">
      <dgm:prSet/>
      <dgm:spPr/>
      <dgm:t>
        <a:bodyPr/>
        <a:lstStyle/>
        <a:p>
          <a:endParaRPr lang="de-DE"/>
        </a:p>
      </dgm:t>
    </dgm:pt>
    <dgm:pt modelId="{A1A7E3C9-7AFC-441F-AFE6-629012E3CDD8}">
      <dgm:prSet/>
      <dgm:spPr/>
      <dgm:t>
        <a:bodyPr/>
        <a:lstStyle/>
        <a:p>
          <a:r>
            <a:rPr lang="de-DE" smtClean="0"/>
            <a:t>Einsparpotenziale (z.B. in der Beschaffung)</a:t>
          </a:r>
          <a:endParaRPr lang="de-DE" dirty="0" smtClean="0"/>
        </a:p>
      </dgm:t>
    </dgm:pt>
    <dgm:pt modelId="{6695DF17-40FA-437D-98BF-2A30BE0070AC}" type="parTrans" cxnId="{31E65A06-3828-4908-BE5A-2AE95674FE2B}">
      <dgm:prSet/>
      <dgm:spPr/>
      <dgm:t>
        <a:bodyPr/>
        <a:lstStyle/>
        <a:p>
          <a:endParaRPr lang="de-DE"/>
        </a:p>
      </dgm:t>
    </dgm:pt>
    <dgm:pt modelId="{FD702F65-26EE-4AE1-921D-9F497E2ACF36}" type="sibTrans" cxnId="{31E65A06-3828-4908-BE5A-2AE95674FE2B}">
      <dgm:prSet/>
      <dgm:spPr/>
      <dgm:t>
        <a:bodyPr/>
        <a:lstStyle/>
        <a:p>
          <a:endParaRPr lang="de-DE"/>
        </a:p>
      </dgm:t>
    </dgm:pt>
    <dgm:pt modelId="{1497C73B-DB82-4153-A6C4-ADDC6DA79DE9}">
      <dgm:prSet/>
      <dgm:spPr/>
      <dgm:t>
        <a:bodyPr/>
        <a:lstStyle/>
        <a:p>
          <a:r>
            <a:rPr lang="de-DE" smtClean="0"/>
            <a:t>Kapitalgeber wollen zunehmend wissen, welche Nachhaltigkeitskriterien an Investment geknüpft sind</a:t>
          </a:r>
          <a:endParaRPr lang="de-DE" dirty="0" smtClean="0"/>
        </a:p>
      </dgm:t>
    </dgm:pt>
    <dgm:pt modelId="{F47F381A-8458-4136-A381-37344CEEAAEB}" type="parTrans" cxnId="{316A2A75-E5B1-4AFB-A72E-A792C32DB0BF}">
      <dgm:prSet/>
      <dgm:spPr/>
      <dgm:t>
        <a:bodyPr/>
        <a:lstStyle/>
        <a:p>
          <a:endParaRPr lang="de-DE"/>
        </a:p>
      </dgm:t>
    </dgm:pt>
    <dgm:pt modelId="{A844DB85-D477-4AE1-AFA9-567807237874}" type="sibTrans" cxnId="{316A2A75-E5B1-4AFB-A72E-A792C32DB0BF}">
      <dgm:prSet/>
      <dgm:spPr/>
      <dgm:t>
        <a:bodyPr/>
        <a:lstStyle/>
        <a:p>
          <a:endParaRPr lang="de-DE"/>
        </a:p>
      </dgm:t>
    </dgm:pt>
    <dgm:pt modelId="{4D030BFF-0234-44A1-A3CD-2EC3BF2214E2}">
      <dgm:prSet/>
      <dgm:spPr/>
      <dgm:t>
        <a:bodyPr/>
        <a:lstStyle/>
        <a:p>
          <a:r>
            <a:rPr lang="de-DE" smtClean="0"/>
            <a:t>Anforderungen von Auftraggebern müssen erfüllt werden (Bsp: LkSG)</a:t>
          </a:r>
          <a:endParaRPr lang="de-DE" dirty="0"/>
        </a:p>
      </dgm:t>
    </dgm:pt>
    <dgm:pt modelId="{CB7AA449-6BD4-4BD4-A806-7269C85B4B85}" type="parTrans" cxnId="{3F8F3955-1849-4F28-B8EC-9BAA50A6AE7C}">
      <dgm:prSet/>
      <dgm:spPr/>
      <dgm:t>
        <a:bodyPr/>
        <a:lstStyle/>
        <a:p>
          <a:endParaRPr lang="de-DE"/>
        </a:p>
      </dgm:t>
    </dgm:pt>
    <dgm:pt modelId="{FB8532A6-4376-4E1E-B3E5-730868D33684}" type="sibTrans" cxnId="{3F8F3955-1849-4F28-B8EC-9BAA50A6AE7C}">
      <dgm:prSet/>
      <dgm:spPr/>
      <dgm:t>
        <a:bodyPr/>
        <a:lstStyle/>
        <a:p>
          <a:endParaRPr lang="de-DE"/>
        </a:p>
      </dgm:t>
    </dgm:pt>
    <dgm:pt modelId="{8C29FF01-7893-42D3-9B0C-2874F2C23670}" type="pres">
      <dgm:prSet presAssocID="{74110A9A-E66D-4079-B0CA-86405BC78F62}" presName="diagram" presStyleCnt="0">
        <dgm:presLayoutVars>
          <dgm:dir/>
          <dgm:resizeHandles val="exact"/>
        </dgm:presLayoutVars>
      </dgm:prSet>
      <dgm:spPr/>
    </dgm:pt>
    <dgm:pt modelId="{26C848A0-471A-4311-8D71-93D606183FA1}" type="pres">
      <dgm:prSet presAssocID="{AC9D2213-0E13-404E-A91E-FAC8AB02C8CA}" presName="node" presStyleLbl="node1" presStyleIdx="0" presStyleCnt="4">
        <dgm:presLayoutVars>
          <dgm:bulletEnabled val="1"/>
        </dgm:presLayoutVars>
      </dgm:prSet>
      <dgm:spPr/>
      <dgm:t>
        <a:bodyPr/>
        <a:lstStyle/>
        <a:p>
          <a:endParaRPr lang="de-DE"/>
        </a:p>
      </dgm:t>
    </dgm:pt>
    <dgm:pt modelId="{0779D307-F717-4E74-B8EC-364085FA224D}" type="pres">
      <dgm:prSet presAssocID="{30E3B32F-6DF2-4C1B-9EE8-1B9DBEBEC37A}" presName="sibTrans" presStyleCnt="0"/>
      <dgm:spPr/>
    </dgm:pt>
    <dgm:pt modelId="{98E39A6B-C777-4E7F-AB1E-6EAEDC62E45E}" type="pres">
      <dgm:prSet presAssocID="{A1A7E3C9-7AFC-441F-AFE6-629012E3CDD8}" presName="node" presStyleLbl="node1" presStyleIdx="1" presStyleCnt="4">
        <dgm:presLayoutVars>
          <dgm:bulletEnabled val="1"/>
        </dgm:presLayoutVars>
      </dgm:prSet>
      <dgm:spPr/>
    </dgm:pt>
    <dgm:pt modelId="{D978B1C1-5FBD-4F2E-9431-84E985A97B34}" type="pres">
      <dgm:prSet presAssocID="{FD702F65-26EE-4AE1-921D-9F497E2ACF36}" presName="sibTrans" presStyleCnt="0"/>
      <dgm:spPr/>
    </dgm:pt>
    <dgm:pt modelId="{923CDEEE-84F9-4E16-8E1E-2144FA1CE87F}" type="pres">
      <dgm:prSet presAssocID="{1497C73B-DB82-4153-A6C4-ADDC6DA79DE9}" presName="node" presStyleLbl="node1" presStyleIdx="2" presStyleCnt="4">
        <dgm:presLayoutVars>
          <dgm:bulletEnabled val="1"/>
        </dgm:presLayoutVars>
      </dgm:prSet>
      <dgm:spPr/>
    </dgm:pt>
    <dgm:pt modelId="{576C31C0-98FC-4873-BCF4-BDE44289304D}" type="pres">
      <dgm:prSet presAssocID="{A844DB85-D477-4AE1-AFA9-567807237874}" presName="sibTrans" presStyleCnt="0"/>
      <dgm:spPr/>
    </dgm:pt>
    <dgm:pt modelId="{C721D9E9-75E3-415D-8174-5C5D6D479122}" type="pres">
      <dgm:prSet presAssocID="{4D030BFF-0234-44A1-A3CD-2EC3BF2214E2}" presName="node" presStyleLbl="node1" presStyleIdx="3" presStyleCnt="4">
        <dgm:presLayoutVars>
          <dgm:bulletEnabled val="1"/>
        </dgm:presLayoutVars>
      </dgm:prSet>
      <dgm:spPr/>
    </dgm:pt>
  </dgm:ptLst>
  <dgm:cxnLst>
    <dgm:cxn modelId="{556A67A9-7931-4FA0-A562-197D6F3E03F5}" srcId="{74110A9A-E66D-4079-B0CA-86405BC78F62}" destId="{AC9D2213-0E13-404E-A91E-FAC8AB02C8CA}" srcOrd="0" destOrd="0" parTransId="{9F25661B-40BF-4749-A7FB-A5DEAAF752DB}" sibTransId="{30E3B32F-6DF2-4C1B-9EE8-1B9DBEBEC37A}"/>
    <dgm:cxn modelId="{3F8F3955-1849-4F28-B8EC-9BAA50A6AE7C}" srcId="{74110A9A-E66D-4079-B0CA-86405BC78F62}" destId="{4D030BFF-0234-44A1-A3CD-2EC3BF2214E2}" srcOrd="3" destOrd="0" parTransId="{CB7AA449-6BD4-4BD4-A806-7269C85B4B85}" sibTransId="{FB8532A6-4376-4E1E-B3E5-730868D33684}"/>
    <dgm:cxn modelId="{B659145E-7799-4ABF-B144-7539D198C59B}" type="presOf" srcId="{1497C73B-DB82-4153-A6C4-ADDC6DA79DE9}" destId="{923CDEEE-84F9-4E16-8E1E-2144FA1CE87F}" srcOrd="0" destOrd="0" presId="urn:microsoft.com/office/officeart/2005/8/layout/default"/>
    <dgm:cxn modelId="{C17CFC22-1A23-499D-A943-C8AE6ED7A9B7}" type="presOf" srcId="{4D030BFF-0234-44A1-A3CD-2EC3BF2214E2}" destId="{C721D9E9-75E3-415D-8174-5C5D6D479122}" srcOrd="0" destOrd="0" presId="urn:microsoft.com/office/officeart/2005/8/layout/default"/>
    <dgm:cxn modelId="{31E65A06-3828-4908-BE5A-2AE95674FE2B}" srcId="{74110A9A-E66D-4079-B0CA-86405BC78F62}" destId="{A1A7E3C9-7AFC-441F-AFE6-629012E3CDD8}" srcOrd="1" destOrd="0" parTransId="{6695DF17-40FA-437D-98BF-2A30BE0070AC}" sibTransId="{FD702F65-26EE-4AE1-921D-9F497E2ACF36}"/>
    <dgm:cxn modelId="{A4C4C3B6-CF43-4C78-9DCB-1967DFA38893}" type="presOf" srcId="{AC9D2213-0E13-404E-A91E-FAC8AB02C8CA}" destId="{26C848A0-471A-4311-8D71-93D606183FA1}" srcOrd="0" destOrd="0" presId="urn:microsoft.com/office/officeart/2005/8/layout/default"/>
    <dgm:cxn modelId="{316A2A75-E5B1-4AFB-A72E-A792C32DB0BF}" srcId="{74110A9A-E66D-4079-B0CA-86405BC78F62}" destId="{1497C73B-DB82-4153-A6C4-ADDC6DA79DE9}" srcOrd="2" destOrd="0" parTransId="{F47F381A-8458-4136-A381-37344CEEAAEB}" sibTransId="{A844DB85-D477-4AE1-AFA9-567807237874}"/>
    <dgm:cxn modelId="{5FC7DD25-E6EA-400B-AA7D-D30492967063}" type="presOf" srcId="{74110A9A-E66D-4079-B0CA-86405BC78F62}" destId="{8C29FF01-7893-42D3-9B0C-2874F2C23670}" srcOrd="0" destOrd="0" presId="urn:microsoft.com/office/officeart/2005/8/layout/default"/>
    <dgm:cxn modelId="{DEC4A6E4-F873-45DF-AEFA-2303592C8BDE}" type="presOf" srcId="{A1A7E3C9-7AFC-441F-AFE6-629012E3CDD8}" destId="{98E39A6B-C777-4E7F-AB1E-6EAEDC62E45E}" srcOrd="0" destOrd="0" presId="urn:microsoft.com/office/officeart/2005/8/layout/default"/>
    <dgm:cxn modelId="{7E6A172C-B5B9-4FF8-947C-64BC70A68A57}" type="presParOf" srcId="{8C29FF01-7893-42D3-9B0C-2874F2C23670}" destId="{26C848A0-471A-4311-8D71-93D606183FA1}" srcOrd="0" destOrd="0" presId="urn:microsoft.com/office/officeart/2005/8/layout/default"/>
    <dgm:cxn modelId="{7127E769-AA89-493C-832C-16220F7B62DE}" type="presParOf" srcId="{8C29FF01-7893-42D3-9B0C-2874F2C23670}" destId="{0779D307-F717-4E74-B8EC-364085FA224D}" srcOrd="1" destOrd="0" presId="urn:microsoft.com/office/officeart/2005/8/layout/default"/>
    <dgm:cxn modelId="{1D008AE4-2A8F-4AEF-9EA1-1E781569540F}" type="presParOf" srcId="{8C29FF01-7893-42D3-9B0C-2874F2C23670}" destId="{98E39A6B-C777-4E7F-AB1E-6EAEDC62E45E}" srcOrd="2" destOrd="0" presId="urn:microsoft.com/office/officeart/2005/8/layout/default"/>
    <dgm:cxn modelId="{DD8BC899-A41C-4886-9AB9-9454621DD2AD}" type="presParOf" srcId="{8C29FF01-7893-42D3-9B0C-2874F2C23670}" destId="{D978B1C1-5FBD-4F2E-9431-84E985A97B34}" srcOrd="3" destOrd="0" presId="urn:microsoft.com/office/officeart/2005/8/layout/default"/>
    <dgm:cxn modelId="{7390C789-F4F7-4BF9-88EE-ACA572BB290B}" type="presParOf" srcId="{8C29FF01-7893-42D3-9B0C-2874F2C23670}" destId="{923CDEEE-84F9-4E16-8E1E-2144FA1CE87F}" srcOrd="4" destOrd="0" presId="urn:microsoft.com/office/officeart/2005/8/layout/default"/>
    <dgm:cxn modelId="{472F817B-5185-4645-937B-2FE3020C2D53}" type="presParOf" srcId="{8C29FF01-7893-42D3-9B0C-2874F2C23670}" destId="{576C31C0-98FC-4873-BCF4-BDE44289304D}" srcOrd="5" destOrd="0" presId="urn:microsoft.com/office/officeart/2005/8/layout/default"/>
    <dgm:cxn modelId="{A65196EE-28B4-4EF1-B428-EEE2CC07921A}" type="presParOf" srcId="{8C29FF01-7893-42D3-9B0C-2874F2C23670}" destId="{C721D9E9-75E3-415D-8174-5C5D6D479122}"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04E71-B4AE-40F9-8B2D-D364C9195C3A}">
      <dsp:nvSpPr>
        <dsp:cNvPr id="0" name=""/>
        <dsp:cNvSpPr/>
      </dsp:nvSpPr>
      <dsp:spPr>
        <a:xfrm>
          <a:off x="0" y="1405863"/>
          <a:ext cx="10744508" cy="478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0EF234-4103-44C0-9B67-5FE09806688D}">
      <dsp:nvSpPr>
        <dsp:cNvPr id="0" name=""/>
        <dsp:cNvSpPr/>
      </dsp:nvSpPr>
      <dsp:spPr>
        <a:xfrm>
          <a:off x="537225" y="1125423"/>
          <a:ext cx="7521156" cy="560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282" tIns="0" rIns="284282" bIns="0" numCol="1" spcCol="1270" anchor="ctr" anchorCtr="0">
          <a:noAutofit/>
        </a:bodyPr>
        <a:lstStyle/>
        <a:p>
          <a:pPr lvl="0" algn="l" defTabSz="844550">
            <a:lnSpc>
              <a:spcPct val="90000"/>
            </a:lnSpc>
            <a:spcBef>
              <a:spcPct val="0"/>
            </a:spcBef>
            <a:spcAft>
              <a:spcPct val="35000"/>
            </a:spcAft>
          </a:pPr>
          <a:r>
            <a:rPr lang="de-DE" sz="1900" kern="1200" dirty="0" smtClean="0"/>
            <a:t>Umsetzung unterscheidet sich je nach Unternehmen (Größe, Branche, Kerngeschäft etc.)</a:t>
          </a:r>
          <a:endParaRPr lang="de-DE" sz="1900" kern="1200" dirty="0"/>
        </a:p>
      </dsp:txBody>
      <dsp:txXfrm>
        <a:off x="564605" y="1152803"/>
        <a:ext cx="7466396" cy="506120"/>
      </dsp:txXfrm>
    </dsp:sp>
    <dsp:sp modelId="{35A7A079-95CF-4F63-A7B7-E72D7AE79646}">
      <dsp:nvSpPr>
        <dsp:cNvPr id="0" name=""/>
        <dsp:cNvSpPr/>
      </dsp:nvSpPr>
      <dsp:spPr>
        <a:xfrm>
          <a:off x="0" y="2267704"/>
          <a:ext cx="10744508" cy="478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7992E99-004B-4E08-A89B-E305F9B2CEF5}">
      <dsp:nvSpPr>
        <dsp:cNvPr id="0" name=""/>
        <dsp:cNvSpPr/>
      </dsp:nvSpPr>
      <dsp:spPr>
        <a:xfrm>
          <a:off x="537225" y="1987264"/>
          <a:ext cx="7521156" cy="560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282" tIns="0" rIns="284282" bIns="0" numCol="1" spcCol="1270" anchor="ctr" anchorCtr="0">
          <a:noAutofit/>
        </a:bodyPr>
        <a:lstStyle/>
        <a:p>
          <a:pPr lvl="0" algn="l" defTabSz="844550">
            <a:lnSpc>
              <a:spcPct val="90000"/>
            </a:lnSpc>
            <a:spcBef>
              <a:spcPct val="0"/>
            </a:spcBef>
            <a:spcAft>
              <a:spcPct val="35000"/>
            </a:spcAft>
          </a:pPr>
          <a:r>
            <a:rPr lang="de-DE" sz="1900" kern="1200" dirty="0" smtClean="0"/>
            <a:t>CSR Tätigkeiten müssen im Bezug zur Geschäftstätigkeit geplant werden. CSR als Zusatzleitung greift zu kurz.</a:t>
          </a:r>
          <a:endParaRPr lang="de-DE" sz="1900" kern="1200" dirty="0"/>
        </a:p>
      </dsp:txBody>
      <dsp:txXfrm>
        <a:off x="564605" y="2014644"/>
        <a:ext cx="7466396" cy="506120"/>
      </dsp:txXfrm>
    </dsp:sp>
    <dsp:sp modelId="{8FF65649-2E91-47AD-B1E0-AF006D3A00BA}">
      <dsp:nvSpPr>
        <dsp:cNvPr id="0" name=""/>
        <dsp:cNvSpPr/>
      </dsp:nvSpPr>
      <dsp:spPr>
        <a:xfrm>
          <a:off x="0" y="3129544"/>
          <a:ext cx="10744508" cy="478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39A20E-659C-47DE-A87A-F3F0FB2D519C}">
      <dsp:nvSpPr>
        <dsp:cNvPr id="0" name=""/>
        <dsp:cNvSpPr/>
      </dsp:nvSpPr>
      <dsp:spPr>
        <a:xfrm>
          <a:off x="537225" y="2849104"/>
          <a:ext cx="7521156" cy="560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282" tIns="0" rIns="284282" bIns="0" numCol="1" spcCol="1270" anchor="ctr" anchorCtr="0">
          <a:noAutofit/>
        </a:bodyPr>
        <a:lstStyle/>
        <a:p>
          <a:pPr lvl="0" algn="l" defTabSz="844550">
            <a:lnSpc>
              <a:spcPct val="90000"/>
            </a:lnSpc>
            <a:spcBef>
              <a:spcPct val="0"/>
            </a:spcBef>
            <a:spcAft>
              <a:spcPct val="35000"/>
            </a:spcAft>
          </a:pPr>
          <a:r>
            <a:rPr lang="de-DE" sz="1900" kern="1200" dirty="0" smtClean="0"/>
            <a:t>Strategische Planung und Integration in Gesamtstrategie notwendig</a:t>
          </a:r>
          <a:endParaRPr lang="de-DE" sz="1900" kern="1200" dirty="0"/>
        </a:p>
      </dsp:txBody>
      <dsp:txXfrm>
        <a:off x="564605" y="2876484"/>
        <a:ext cx="7466396" cy="506120"/>
      </dsp:txXfrm>
    </dsp:sp>
    <dsp:sp modelId="{CE73DAB3-A00F-4D4A-B018-B4C58961A340}">
      <dsp:nvSpPr>
        <dsp:cNvPr id="0" name=""/>
        <dsp:cNvSpPr/>
      </dsp:nvSpPr>
      <dsp:spPr>
        <a:xfrm>
          <a:off x="0" y="3991384"/>
          <a:ext cx="10744508" cy="478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EB0C7EE-6E15-4F7D-9481-4A537750CCA1}">
      <dsp:nvSpPr>
        <dsp:cNvPr id="0" name=""/>
        <dsp:cNvSpPr/>
      </dsp:nvSpPr>
      <dsp:spPr>
        <a:xfrm>
          <a:off x="537225" y="3710944"/>
          <a:ext cx="7521156" cy="5608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282" tIns="0" rIns="284282" bIns="0" numCol="1" spcCol="1270" anchor="ctr" anchorCtr="0">
          <a:noAutofit/>
        </a:bodyPr>
        <a:lstStyle/>
        <a:p>
          <a:pPr lvl="0" algn="l" defTabSz="844550">
            <a:lnSpc>
              <a:spcPct val="90000"/>
            </a:lnSpc>
            <a:spcBef>
              <a:spcPct val="0"/>
            </a:spcBef>
            <a:spcAft>
              <a:spcPct val="35000"/>
            </a:spcAft>
          </a:pPr>
          <a:r>
            <a:rPr lang="de-DE" sz="1900" kern="1200" smtClean="0"/>
            <a:t>Nur so kann Langfristigkeit und Erfolg der Maßnahmen gewährleistet sein und zum unternehmerischen Erfolg beitragen</a:t>
          </a:r>
          <a:endParaRPr lang="de-DE" sz="1900" kern="1200" dirty="0"/>
        </a:p>
      </dsp:txBody>
      <dsp:txXfrm>
        <a:off x="564605" y="3738324"/>
        <a:ext cx="7466396" cy="5061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DA32BB-26F6-42BE-BFF4-E0728A237AAD}">
      <dsp:nvSpPr>
        <dsp:cNvPr id="0" name=""/>
        <dsp:cNvSpPr/>
      </dsp:nvSpPr>
      <dsp:spPr>
        <a:xfrm rot="16200000">
          <a:off x="-1435380" y="2361998"/>
          <a:ext cx="3549211" cy="54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78801" bIns="0" numCol="1" spcCol="1270" anchor="t" anchorCtr="0">
          <a:noAutofit/>
        </a:bodyPr>
        <a:lstStyle/>
        <a:p>
          <a:pPr lvl="0" algn="r" defTabSz="1822450">
            <a:lnSpc>
              <a:spcPct val="90000"/>
            </a:lnSpc>
            <a:spcBef>
              <a:spcPct val="0"/>
            </a:spcBef>
            <a:spcAft>
              <a:spcPct val="35000"/>
            </a:spcAft>
          </a:pPr>
          <a:r>
            <a:rPr lang="de-DE" sz="4100" kern="1200" dirty="0" smtClean="0"/>
            <a:t>Ökonomie</a:t>
          </a:r>
          <a:endParaRPr lang="de-DE" sz="4100" kern="1200" dirty="0"/>
        </a:p>
      </dsp:txBody>
      <dsp:txXfrm>
        <a:off x="-1435380" y="2361998"/>
        <a:ext cx="3549211" cy="542892"/>
      </dsp:txXfrm>
    </dsp:sp>
    <dsp:sp modelId="{4FA02465-033A-44DB-85AA-DCA652155D9E}">
      <dsp:nvSpPr>
        <dsp:cNvPr id="0" name=""/>
        <dsp:cNvSpPr/>
      </dsp:nvSpPr>
      <dsp:spPr>
        <a:xfrm>
          <a:off x="610671" y="858838"/>
          <a:ext cx="2704180" cy="3549211"/>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3792" tIns="478801" rIns="113792" bIns="113792" numCol="1" spcCol="1270" anchor="t" anchorCtr="0">
          <a:noAutofit/>
        </a:bodyPr>
        <a:lstStyle/>
        <a:p>
          <a:pPr marL="171450" lvl="1" indent="-171450" algn="l" defTabSz="711200">
            <a:lnSpc>
              <a:spcPct val="90000"/>
            </a:lnSpc>
            <a:spcBef>
              <a:spcPct val="0"/>
            </a:spcBef>
            <a:spcAft>
              <a:spcPct val="15000"/>
            </a:spcAft>
            <a:buChar char="••"/>
          </a:pPr>
          <a:r>
            <a:rPr lang="de-DE" sz="1600" b="0" kern="1200" dirty="0" smtClean="0"/>
            <a:t>Wirtschaftliche Leistung</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Marktpräsenz</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Indirekte ökonomische Auswirkungen</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Beschaffungspraktiken</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Korruptionsbekämpfung</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Wettbewerbswidriges Verhalten</a:t>
          </a:r>
          <a:endParaRPr lang="de-DE" sz="1600" b="0" kern="1200" dirty="0"/>
        </a:p>
      </dsp:txBody>
      <dsp:txXfrm>
        <a:off x="610671" y="858838"/>
        <a:ext cx="2704180" cy="3549211"/>
      </dsp:txXfrm>
    </dsp:sp>
    <dsp:sp modelId="{F165A5A1-5E32-4F7D-9219-30ED560DFEFB}">
      <dsp:nvSpPr>
        <dsp:cNvPr id="0" name=""/>
        <dsp:cNvSpPr/>
      </dsp:nvSpPr>
      <dsp:spPr>
        <a:xfrm>
          <a:off x="67778" y="142220"/>
          <a:ext cx="1085784" cy="1085784"/>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D2494F50-8A22-411B-9A3E-D6BAB8B17F14}">
      <dsp:nvSpPr>
        <dsp:cNvPr id="0" name=""/>
        <dsp:cNvSpPr/>
      </dsp:nvSpPr>
      <dsp:spPr>
        <a:xfrm rot="16200000">
          <a:off x="2529802" y="2361998"/>
          <a:ext cx="3549211" cy="54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78801" bIns="0" numCol="1" spcCol="1270" anchor="t" anchorCtr="0">
          <a:noAutofit/>
        </a:bodyPr>
        <a:lstStyle/>
        <a:p>
          <a:pPr lvl="0" algn="r" defTabSz="1822450">
            <a:lnSpc>
              <a:spcPct val="90000"/>
            </a:lnSpc>
            <a:spcBef>
              <a:spcPct val="0"/>
            </a:spcBef>
            <a:spcAft>
              <a:spcPct val="35000"/>
            </a:spcAft>
          </a:pPr>
          <a:r>
            <a:rPr lang="de-DE" sz="4100" kern="1200" dirty="0" smtClean="0"/>
            <a:t>Ökologie</a:t>
          </a:r>
          <a:endParaRPr lang="de-DE" sz="4100" kern="1200" dirty="0"/>
        </a:p>
      </dsp:txBody>
      <dsp:txXfrm>
        <a:off x="2529802" y="2361998"/>
        <a:ext cx="3549211" cy="542892"/>
      </dsp:txXfrm>
    </dsp:sp>
    <dsp:sp modelId="{B61D8964-970A-4DDD-B082-768824C1FEA9}">
      <dsp:nvSpPr>
        <dsp:cNvPr id="0" name=""/>
        <dsp:cNvSpPr/>
      </dsp:nvSpPr>
      <dsp:spPr>
        <a:xfrm>
          <a:off x="4575854" y="858838"/>
          <a:ext cx="2704180" cy="3549211"/>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13792" tIns="478801" rIns="113792" bIns="113792" numCol="1" spcCol="1270" anchor="t" anchorCtr="0">
          <a:noAutofit/>
        </a:bodyPr>
        <a:lstStyle/>
        <a:p>
          <a:pPr marL="171450" lvl="1" indent="-171450" algn="l" defTabSz="711200">
            <a:lnSpc>
              <a:spcPct val="90000"/>
            </a:lnSpc>
            <a:spcBef>
              <a:spcPct val="0"/>
            </a:spcBef>
            <a:spcAft>
              <a:spcPct val="15000"/>
            </a:spcAft>
            <a:buChar char="••"/>
          </a:pPr>
          <a:r>
            <a:rPr lang="de-DE" sz="1600" b="0" kern="1200" dirty="0" smtClean="0"/>
            <a:t>Materialien</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Energie</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Wasser</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Biodiversität</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Emissionen</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Abwasser und Abfall</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Umwelt-Compliance</a:t>
          </a:r>
          <a:endParaRPr lang="de-DE" sz="1600" b="0" kern="1200" dirty="0"/>
        </a:p>
        <a:p>
          <a:pPr marL="171450" lvl="1" indent="-171450" algn="l" defTabSz="711200">
            <a:lnSpc>
              <a:spcPct val="90000"/>
            </a:lnSpc>
            <a:spcBef>
              <a:spcPct val="0"/>
            </a:spcBef>
            <a:spcAft>
              <a:spcPct val="15000"/>
            </a:spcAft>
            <a:buChar char="••"/>
          </a:pPr>
          <a:r>
            <a:rPr lang="de-DE" sz="1600" b="0" kern="1200" dirty="0" smtClean="0"/>
            <a:t>Umweltbewertung der Lieferanten</a:t>
          </a:r>
          <a:endParaRPr lang="de-DE" sz="1600" b="0" kern="1200" dirty="0"/>
        </a:p>
      </dsp:txBody>
      <dsp:txXfrm>
        <a:off x="4575854" y="858838"/>
        <a:ext cx="2704180" cy="3549211"/>
      </dsp:txXfrm>
    </dsp:sp>
    <dsp:sp modelId="{B149565A-6CAE-4DC7-BC88-ADB18A5B4101}">
      <dsp:nvSpPr>
        <dsp:cNvPr id="0" name=""/>
        <dsp:cNvSpPr/>
      </dsp:nvSpPr>
      <dsp:spPr>
        <a:xfrm>
          <a:off x="4032961" y="142220"/>
          <a:ext cx="1085784" cy="1085784"/>
        </a:xfrm>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D164273B-0C1B-40D8-B8F7-8003561A58C7}">
      <dsp:nvSpPr>
        <dsp:cNvPr id="0" name=""/>
        <dsp:cNvSpPr/>
      </dsp:nvSpPr>
      <dsp:spPr>
        <a:xfrm rot="16200000">
          <a:off x="6494984" y="2361998"/>
          <a:ext cx="3549211" cy="54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78801" bIns="0" numCol="1" spcCol="1270" anchor="t" anchorCtr="0">
          <a:noAutofit/>
        </a:bodyPr>
        <a:lstStyle/>
        <a:p>
          <a:pPr lvl="0" algn="r" defTabSz="1822450">
            <a:lnSpc>
              <a:spcPct val="90000"/>
            </a:lnSpc>
            <a:spcBef>
              <a:spcPct val="0"/>
            </a:spcBef>
            <a:spcAft>
              <a:spcPct val="35000"/>
            </a:spcAft>
          </a:pPr>
          <a:r>
            <a:rPr lang="de-DE" sz="4100" kern="1200" dirty="0" smtClean="0"/>
            <a:t>Soziales</a:t>
          </a:r>
          <a:endParaRPr lang="de-DE" sz="4100" kern="1200" dirty="0"/>
        </a:p>
      </dsp:txBody>
      <dsp:txXfrm>
        <a:off x="6494984" y="2361998"/>
        <a:ext cx="3549211" cy="542892"/>
      </dsp:txXfrm>
    </dsp:sp>
    <dsp:sp modelId="{0D33EBE5-ACE2-4431-9341-EE686C29B469}">
      <dsp:nvSpPr>
        <dsp:cNvPr id="0" name=""/>
        <dsp:cNvSpPr/>
      </dsp:nvSpPr>
      <dsp:spPr>
        <a:xfrm>
          <a:off x="8541036" y="858838"/>
          <a:ext cx="2704180" cy="3549211"/>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5344" tIns="478801" rIns="85344" bIns="85344" numCol="1" spcCol="1270" anchor="t" anchorCtr="0">
          <a:noAutofit/>
        </a:bodyPr>
        <a:lstStyle/>
        <a:p>
          <a:pPr marL="114300" lvl="1" indent="-114300" algn="l" defTabSz="533400">
            <a:lnSpc>
              <a:spcPct val="90000"/>
            </a:lnSpc>
            <a:spcBef>
              <a:spcPct val="0"/>
            </a:spcBef>
            <a:spcAft>
              <a:spcPct val="15000"/>
            </a:spcAft>
            <a:buChar char="••"/>
          </a:pPr>
          <a:r>
            <a:rPr lang="de-DE" sz="1200" b="1" kern="1200" dirty="0" smtClean="0"/>
            <a:t>Beschäftigung</a:t>
          </a:r>
          <a:endParaRPr lang="de-DE" sz="1200" kern="1200" dirty="0"/>
        </a:p>
        <a:p>
          <a:pPr marL="114300" lvl="1" indent="-114300" algn="l" defTabSz="533400">
            <a:lnSpc>
              <a:spcPct val="90000"/>
            </a:lnSpc>
            <a:spcBef>
              <a:spcPct val="0"/>
            </a:spcBef>
            <a:spcAft>
              <a:spcPct val="15000"/>
            </a:spcAft>
            <a:buChar char="••"/>
          </a:pPr>
          <a:r>
            <a:rPr lang="de-DE" sz="1200" b="1" kern="1200" dirty="0" smtClean="0"/>
            <a:t>Arbeitnehmer-Arbeitgeber-Verhältnis</a:t>
          </a:r>
          <a:endParaRPr lang="de-DE" sz="1200" kern="1200" dirty="0"/>
        </a:p>
        <a:p>
          <a:pPr marL="114300" lvl="1" indent="-114300" algn="l" defTabSz="533400">
            <a:lnSpc>
              <a:spcPct val="90000"/>
            </a:lnSpc>
            <a:spcBef>
              <a:spcPct val="0"/>
            </a:spcBef>
            <a:spcAft>
              <a:spcPct val="15000"/>
            </a:spcAft>
            <a:buChar char="••"/>
          </a:pPr>
          <a:r>
            <a:rPr lang="de-DE" sz="1200" b="1" kern="1200" dirty="0" smtClean="0"/>
            <a:t>Arbeitssicherheit und Gesundheitsschutz</a:t>
          </a:r>
          <a:endParaRPr lang="de-DE" sz="1200" kern="1200" dirty="0"/>
        </a:p>
        <a:p>
          <a:pPr marL="114300" lvl="1" indent="-114300" algn="l" defTabSz="533400">
            <a:lnSpc>
              <a:spcPct val="90000"/>
            </a:lnSpc>
            <a:spcBef>
              <a:spcPct val="0"/>
            </a:spcBef>
            <a:spcAft>
              <a:spcPct val="15000"/>
            </a:spcAft>
            <a:buChar char="••"/>
          </a:pPr>
          <a:r>
            <a:rPr lang="de-DE" sz="1200" b="1" kern="1200" dirty="0" smtClean="0"/>
            <a:t>Aus- und Weiterbildung</a:t>
          </a:r>
          <a:endParaRPr lang="de-DE" sz="1200" kern="1200" dirty="0"/>
        </a:p>
        <a:p>
          <a:pPr marL="114300" lvl="1" indent="-114300" algn="l" defTabSz="533400">
            <a:lnSpc>
              <a:spcPct val="90000"/>
            </a:lnSpc>
            <a:spcBef>
              <a:spcPct val="0"/>
            </a:spcBef>
            <a:spcAft>
              <a:spcPct val="15000"/>
            </a:spcAft>
            <a:buChar char="••"/>
          </a:pPr>
          <a:r>
            <a:rPr lang="de-DE" sz="1200" b="1" kern="1200" dirty="0" smtClean="0"/>
            <a:t>Diversität und Chancengleichheit</a:t>
          </a:r>
          <a:endParaRPr lang="de-DE" sz="1200" kern="1200" dirty="0"/>
        </a:p>
        <a:p>
          <a:pPr marL="114300" lvl="1" indent="-114300" algn="l" defTabSz="533400">
            <a:lnSpc>
              <a:spcPct val="90000"/>
            </a:lnSpc>
            <a:spcBef>
              <a:spcPct val="0"/>
            </a:spcBef>
            <a:spcAft>
              <a:spcPct val="15000"/>
            </a:spcAft>
            <a:buChar char="••"/>
          </a:pPr>
          <a:r>
            <a:rPr lang="de-DE" sz="1200" b="1" kern="1200" dirty="0" smtClean="0"/>
            <a:t>Diskriminierungsfreiheit</a:t>
          </a:r>
          <a:endParaRPr lang="de-DE" sz="1200" kern="1200" dirty="0"/>
        </a:p>
        <a:p>
          <a:pPr marL="114300" lvl="1" indent="-114300" algn="l" defTabSz="533400">
            <a:lnSpc>
              <a:spcPct val="90000"/>
            </a:lnSpc>
            <a:spcBef>
              <a:spcPct val="0"/>
            </a:spcBef>
            <a:spcAft>
              <a:spcPct val="15000"/>
            </a:spcAft>
            <a:buChar char="••"/>
          </a:pPr>
          <a:r>
            <a:rPr lang="de-DE" sz="1200" b="1" kern="1200" dirty="0" smtClean="0"/>
            <a:t>Vereinigungsfreiheit und Tarifverhandlungen</a:t>
          </a:r>
          <a:endParaRPr lang="de-DE" sz="1200" kern="1200" dirty="0"/>
        </a:p>
        <a:p>
          <a:pPr marL="114300" lvl="1" indent="-114300" algn="l" defTabSz="533400">
            <a:lnSpc>
              <a:spcPct val="90000"/>
            </a:lnSpc>
            <a:spcBef>
              <a:spcPct val="0"/>
            </a:spcBef>
            <a:spcAft>
              <a:spcPct val="15000"/>
            </a:spcAft>
            <a:buChar char="••"/>
          </a:pPr>
          <a:r>
            <a:rPr lang="de-DE" sz="1200" b="1" kern="1200" dirty="0" smtClean="0"/>
            <a:t>Kinderarbeit</a:t>
          </a:r>
          <a:endParaRPr lang="de-DE" sz="1200" kern="1200" dirty="0"/>
        </a:p>
        <a:p>
          <a:pPr marL="114300" lvl="1" indent="-114300" algn="l" defTabSz="533400">
            <a:lnSpc>
              <a:spcPct val="90000"/>
            </a:lnSpc>
            <a:spcBef>
              <a:spcPct val="0"/>
            </a:spcBef>
            <a:spcAft>
              <a:spcPct val="15000"/>
            </a:spcAft>
            <a:buChar char="••"/>
          </a:pPr>
          <a:r>
            <a:rPr lang="de-DE" sz="1200" b="1" kern="1200" dirty="0" smtClean="0"/>
            <a:t>Zwangs- oder Pflichtarbeit</a:t>
          </a:r>
          <a:endParaRPr lang="de-DE" sz="1200" kern="1200" dirty="0"/>
        </a:p>
        <a:p>
          <a:pPr marL="114300" lvl="1" indent="-114300" algn="l" defTabSz="533400">
            <a:lnSpc>
              <a:spcPct val="90000"/>
            </a:lnSpc>
            <a:spcBef>
              <a:spcPct val="0"/>
            </a:spcBef>
            <a:spcAft>
              <a:spcPct val="15000"/>
            </a:spcAft>
            <a:buChar char="••"/>
          </a:pPr>
          <a:r>
            <a:rPr lang="de-DE" sz="1200" b="1" kern="1200" dirty="0" smtClean="0"/>
            <a:t>Sicherheitspraktiken</a:t>
          </a:r>
          <a:endParaRPr lang="de-DE" sz="1200" kern="1200" dirty="0"/>
        </a:p>
        <a:p>
          <a:pPr marL="114300" lvl="1" indent="-114300" algn="l" defTabSz="533400">
            <a:lnSpc>
              <a:spcPct val="90000"/>
            </a:lnSpc>
            <a:spcBef>
              <a:spcPct val="0"/>
            </a:spcBef>
            <a:spcAft>
              <a:spcPct val="15000"/>
            </a:spcAft>
            <a:buChar char="••"/>
          </a:pPr>
          <a:r>
            <a:rPr lang="de-DE" sz="1200" b="1" kern="1200" dirty="0" smtClean="0"/>
            <a:t>Rechte der indigenen Völker</a:t>
          </a:r>
          <a:endParaRPr lang="de-DE" sz="1200" kern="1200" dirty="0"/>
        </a:p>
        <a:p>
          <a:pPr marL="114300" lvl="1" indent="-114300" algn="l" defTabSz="533400">
            <a:lnSpc>
              <a:spcPct val="90000"/>
            </a:lnSpc>
            <a:spcBef>
              <a:spcPct val="0"/>
            </a:spcBef>
            <a:spcAft>
              <a:spcPct val="15000"/>
            </a:spcAft>
            <a:buChar char="••"/>
          </a:pPr>
          <a:r>
            <a:rPr lang="de-DE" sz="1200" b="1" kern="1200" dirty="0" smtClean="0"/>
            <a:t>Prüfung auf Einhaltung der Menschenrechte</a:t>
          </a:r>
          <a:endParaRPr lang="de-DE" sz="1200" kern="1200" dirty="0"/>
        </a:p>
        <a:p>
          <a:pPr marL="114300" lvl="1" indent="-114300" algn="l" defTabSz="533400">
            <a:lnSpc>
              <a:spcPct val="90000"/>
            </a:lnSpc>
            <a:spcBef>
              <a:spcPct val="0"/>
            </a:spcBef>
            <a:spcAft>
              <a:spcPct val="15000"/>
            </a:spcAft>
            <a:buChar char="••"/>
          </a:pPr>
          <a:r>
            <a:rPr lang="de-DE" sz="1200" b="1" kern="1200" dirty="0" smtClean="0"/>
            <a:t>Lokale Gemeinschaften</a:t>
          </a:r>
          <a:endParaRPr lang="de-DE" sz="1200" kern="1200" dirty="0"/>
        </a:p>
      </dsp:txBody>
      <dsp:txXfrm>
        <a:off x="8541036" y="858838"/>
        <a:ext cx="2704180" cy="3549211"/>
      </dsp:txXfrm>
    </dsp:sp>
    <dsp:sp modelId="{43A81C98-9728-4356-80A9-410D82480300}">
      <dsp:nvSpPr>
        <dsp:cNvPr id="0" name=""/>
        <dsp:cNvSpPr/>
      </dsp:nvSpPr>
      <dsp:spPr>
        <a:xfrm>
          <a:off x="7998144" y="142220"/>
          <a:ext cx="1085784" cy="1085784"/>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65B529-D894-42FF-B992-C82067703C05}">
      <dsp:nvSpPr>
        <dsp:cNvPr id="0" name=""/>
        <dsp:cNvSpPr/>
      </dsp:nvSpPr>
      <dsp:spPr>
        <a:xfrm>
          <a:off x="0" y="40122"/>
          <a:ext cx="2618973" cy="1571383"/>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e-DE" sz="1400" b="1" i="0" kern="1200" dirty="0" smtClean="0"/>
            <a:t>für Geschäftsjahre beginnend ab dem 1. Januar 2024: Unternehmen von öffentlichem Interesse mit mehr als 500 Mitarbeiter*innen</a:t>
          </a:r>
          <a:endParaRPr lang="de-DE" sz="1400" b="1" kern="1200" dirty="0"/>
        </a:p>
      </dsp:txBody>
      <dsp:txXfrm>
        <a:off x="46024" y="86146"/>
        <a:ext cx="2526925" cy="1479335"/>
      </dsp:txXfrm>
    </dsp:sp>
    <dsp:sp modelId="{7E81A926-E6BD-477C-A835-E2B4F85A0BA3}">
      <dsp:nvSpPr>
        <dsp:cNvPr id="0" name=""/>
        <dsp:cNvSpPr/>
      </dsp:nvSpPr>
      <dsp:spPr>
        <a:xfrm rot="65810">
          <a:off x="2883009" y="536548"/>
          <a:ext cx="559968" cy="649505"/>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de-DE" sz="1100" kern="1200"/>
        </a:p>
      </dsp:txBody>
      <dsp:txXfrm>
        <a:off x="2883024" y="664841"/>
        <a:ext cx="391978" cy="389703"/>
      </dsp:txXfrm>
    </dsp:sp>
    <dsp:sp modelId="{F998A994-B721-4087-B2EE-99B776423CA7}">
      <dsp:nvSpPr>
        <dsp:cNvPr id="0" name=""/>
        <dsp:cNvSpPr/>
      </dsp:nvSpPr>
      <dsp:spPr>
        <a:xfrm>
          <a:off x="3675324" y="110489"/>
          <a:ext cx="2618973" cy="1571383"/>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e-DE" sz="1400" b="1" i="0" kern="1200" dirty="0" smtClean="0"/>
            <a:t>für Geschäftsjahre beginnend ab dem 1. Januar 2025: alle anderen bilanzrechtlich großen Unternehmen</a:t>
          </a:r>
          <a:endParaRPr lang="de-DE" sz="1400" b="1" kern="1200" dirty="0"/>
        </a:p>
      </dsp:txBody>
      <dsp:txXfrm>
        <a:off x="3721348" y="156513"/>
        <a:ext cx="2526925" cy="1479335"/>
      </dsp:txXfrm>
    </dsp:sp>
    <dsp:sp modelId="{1C988EA7-614A-4F6D-B86E-2838E73C6D1F}">
      <dsp:nvSpPr>
        <dsp:cNvPr id="0" name=""/>
        <dsp:cNvSpPr/>
      </dsp:nvSpPr>
      <dsp:spPr>
        <a:xfrm>
          <a:off x="6556195" y="571428"/>
          <a:ext cx="555222" cy="649505"/>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de-DE" sz="1100" kern="1200"/>
        </a:p>
      </dsp:txBody>
      <dsp:txXfrm>
        <a:off x="6556195" y="701329"/>
        <a:ext cx="388655" cy="389703"/>
      </dsp:txXfrm>
    </dsp:sp>
    <dsp:sp modelId="{05BF727D-CBC7-4A47-8872-DC32037EC0A7}">
      <dsp:nvSpPr>
        <dsp:cNvPr id="0" name=""/>
        <dsp:cNvSpPr/>
      </dsp:nvSpPr>
      <dsp:spPr>
        <a:xfrm>
          <a:off x="7341887" y="110489"/>
          <a:ext cx="2618973" cy="1571383"/>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e-DE" sz="1400" b="1" i="0" kern="1200" dirty="0" smtClean="0"/>
            <a:t>für Geschäftsjahre beginnend ab dem 1. Januar 2026: kapitalmarkt­orientierte KMU, sofern sie nicht von der Möglichkeit des Aufschubs bis 2028 Gebrauch machen.</a:t>
          </a:r>
          <a:endParaRPr lang="de-DE" sz="1400" b="1" kern="1200" dirty="0"/>
        </a:p>
      </dsp:txBody>
      <dsp:txXfrm>
        <a:off x="7387911" y="156513"/>
        <a:ext cx="2526925" cy="14793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1A634C-BBBB-47A9-A84E-11E46C379BD1}">
      <dsp:nvSpPr>
        <dsp:cNvPr id="0" name=""/>
        <dsp:cNvSpPr/>
      </dsp:nvSpPr>
      <dsp:spPr>
        <a:xfrm>
          <a:off x="1104575" y="487481"/>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6AE00C0-0ADC-4143-AD6B-F214DECB23EE}">
      <dsp:nvSpPr>
        <dsp:cNvPr id="0" name=""/>
        <dsp:cNvSpPr/>
      </dsp:nvSpPr>
      <dsp:spPr>
        <a:xfrm>
          <a:off x="386761" y="1596571"/>
          <a:ext cx="2245626" cy="884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488950">
            <a:lnSpc>
              <a:spcPct val="90000"/>
            </a:lnSpc>
            <a:spcBef>
              <a:spcPct val="0"/>
            </a:spcBef>
            <a:spcAft>
              <a:spcPct val="35000"/>
            </a:spcAft>
          </a:pPr>
          <a:r>
            <a:rPr lang="de-DE" sz="1100" b="1" kern="1200" dirty="0"/>
            <a:t>Allgemeine Standards</a:t>
          </a:r>
          <a:r>
            <a:rPr lang="de-DE" sz="1100" kern="1200" dirty="0"/>
            <a:t/>
          </a:r>
          <a:br>
            <a:rPr lang="de-DE" sz="1100" kern="1200" dirty="0"/>
          </a:br>
          <a:r>
            <a:rPr lang="de-DE" sz="1100" kern="1200" dirty="0"/>
            <a:t>ESRS 1 General </a:t>
          </a:r>
          <a:r>
            <a:rPr lang="de-DE" sz="1100" kern="1200" dirty="0" err="1"/>
            <a:t>Requirements</a:t>
          </a:r>
          <a:r>
            <a:rPr lang="de-DE" sz="1100" kern="1200" dirty="0"/>
            <a:t/>
          </a:r>
          <a:br>
            <a:rPr lang="de-DE" sz="1100" kern="1200" dirty="0"/>
          </a:br>
          <a:r>
            <a:rPr lang="de-DE" sz="1100" kern="1200" dirty="0"/>
            <a:t>ESRS 2 General Disclosures</a:t>
          </a:r>
          <a:endParaRPr lang="en-US" sz="1100" kern="1200" dirty="0"/>
        </a:p>
      </dsp:txBody>
      <dsp:txXfrm>
        <a:off x="386761" y="1596571"/>
        <a:ext cx="2245626" cy="884571"/>
      </dsp:txXfrm>
    </dsp:sp>
    <dsp:sp modelId="{733D756D-2E79-428F-8163-F7DEC2C74C61}">
      <dsp:nvSpPr>
        <dsp:cNvPr id="0" name=""/>
        <dsp:cNvSpPr/>
      </dsp:nvSpPr>
      <dsp:spPr>
        <a:xfrm>
          <a:off x="4091477" y="487481"/>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0670423-C685-4E85-9276-77042DA96354}">
      <dsp:nvSpPr>
        <dsp:cNvPr id="0" name=""/>
        <dsp:cNvSpPr/>
      </dsp:nvSpPr>
      <dsp:spPr>
        <a:xfrm>
          <a:off x="2947388" y="1596571"/>
          <a:ext cx="3098178" cy="884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l" defTabSz="488950">
            <a:lnSpc>
              <a:spcPct val="90000"/>
            </a:lnSpc>
            <a:spcBef>
              <a:spcPct val="0"/>
            </a:spcBef>
            <a:spcAft>
              <a:spcPct val="35000"/>
            </a:spcAft>
          </a:pPr>
          <a:r>
            <a:rPr lang="de-DE" sz="1100" b="1" kern="1200" dirty="0"/>
            <a:t>Umwelt</a:t>
          </a:r>
          <a:r>
            <a:rPr lang="de-DE" sz="1100" kern="1200" dirty="0"/>
            <a:t/>
          </a:r>
          <a:br>
            <a:rPr lang="de-DE" sz="1100" kern="1200" dirty="0"/>
          </a:br>
          <a:r>
            <a:rPr lang="de-DE" sz="1100" kern="1200" dirty="0"/>
            <a:t>ESRS E1 </a:t>
          </a:r>
          <a:r>
            <a:rPr lang="de-DE" sz="1100" kern="1200" dirty="0" err="1"/>
            <a:t>Climate</a:t>
          </a:r>
          <a:r>
            <a:rPr lang="de-DE" sz="1100" kern="1200" dirty="0"/>
            <a:t> </a:t>
          </a:r>
          <a:r>
            <a:rPr lang="de-DE" sz="1100" kern="1200" dirty="0" err="1"/>
            <a:t>change</a:t>
          </a:r>
          <a:r>
            <a:rPr lang="de-DE" sz="1100" kern="1200" dirty="0"/>
            <a:t/>
          </a:r>
          <a:br>
            <a:rPr lang="de-DE" sz="1100" kern="1200" dirty="0"/>
          </a:br>
          <a:r>
            <a:rPr lang="de-DE" sz="1100" kern="1200" dirty="0"/>
            <a:t>ESRS E2 Pollution</a:t>
          </a:r>
          <a:br>
            <a:rPr lang="de-DE" sz="1100" kern="1200" dirty="0"/>
          </a:br>
          <a:r>
            <a:rPr lang="de-DE" sz="1100" kern="1200" dirty="0"/>
            <a:t>ESRS E3 </a:t>
          </a:r>
          <a:r>
            <a:rPr lang="de-DE" sz="1100" kern="1200" dirty="0" err="1"/>
            <a:t>Water</a:t>
          </a:r>
          <a:r>
            <a:rPr lang="de-DE" sz="1100" kern="1200" dirty="0"/>
            <a:t> </a:t>
          </a:r>
          <a:r>
            <a:rPr lang="de-DE" sz="1100" kern="1200" dirty="0" err="1"/>
            <a:t>and</a:t>
          </a:r>
          <a:r>
            <a:rPr lang="de-DE" sz="1100" kern="1200" dirty="0"/>
            <a:t> Marine Resources</a:t>
          </a:r>
          <a:br>
            <a:rPr lang="de-DE" sz="1100" kern="1200" dirty="0"/>
          </a:br>
          <a:r>
            <a:rPr lang="de-DE" sz="1100" kern="1200" dirty="0"/>
            <a:t>ESRS E4 </a:t>
          </a:r>
          <a:r>
            <a:rPr lang="de-DE" sz="1100" kern="1200" dirty="0" err="1"/>
            <a:t>Biodiversity</a:t>
          </a:r>
          <a:r>
            <a:rPr lang="de-DE" sz="1100" kern="1200" dirty="0"/>
            <a:t> </a:t>
          </a:r>
          <a:r>
            <a:rPr lang="de-DE" sz="1100" kern="1200" dirty="0" err="1"/>
            <a:t>and</a:t>
          </a:r>
          <a:r>
            <a:rPr lang="de-DE" sz="1100" kern="1200" dirty="0"/>
            <a:t> </a:t>
          </a:r>
          <a:r>
            <a:rPr lang="de-DE" sz="1100" kern="1200" dirty="0" err="1"/>
            <a:t>Ecosystems</a:t>
          </a:r>
          <a:r>
            <a:rPr lang="de-DE" sz="1100" kern="1200" dirty="0"/>
            <a:t/>
          </a:r>
          <a:br>
            <a:rPr lang="de-DE" sz="1100" kern="1200" dirty="0"/>
          </a:br>
          <a:r>
            <a:rPr lang="de-DE" sz="1100" kern="1200" dirty="0"/>
            <a:t>ESRS E5 </a:t>
          </a:r>
          <a:r>
            <a:rPr lang="de-DE" sz="1100" kern="1200" dirty="0" err="1"/>
            <a:t>Resource</a:t>
          </a:r>
          <a:r>
            <a:rPr lang="de-DE" sz="1100" kern="1200" dirty="0"/>
            <a:t> </a:t>
          </a:r>
          <a:r>
            <a:rPr lang="de-DE" sz="1100" kern="1200" dirty="0" err="1"/>
            <a:t>use</a:t>
          </a:r>
          <a:r>
            <a:rPr lang="de-DE" sz="1100" kern="1200" dirty="0"/>
            <a:t> </a:t>
          </a:r>
          <a:r>
            <a:rPr lang="de-DE" sz="1100" kern="1200" dirty="0" err="1"/>
            <a:t>and</a:t>
          </a:r>
          <a:r>
            <a:rPr lang="de-DE" sz="1100" kern="1200" dirty="0"/>
            <a:t> </a:t>
          </a:r>
          <a:r>
            <a:rPr lang="de-DE" sz="1100" kern="1200" dirty="0" err="1"/>
            <a:t>Circular</a:t>
          </a:r>
          <a:r>
            <a:rPr lang="de-DE" sz="1100" kern="1200" dirty="0"/>
            <a:t> Economy</a:t>
          </a:r>
          <a:endParaRPr lang="en-US" sz="1100" kern="1200" dirty="0"/>
        </a:p>
      </dsp:txBody>
      <dsp:txXfrm>
        <a:off x="2947388" y="1596571"/>
        <a:ext cx="3098178" cy="884571"/>
      </dsp:txXfrm>
    </dsp:sp>
    <dsp:sp modelId="{16321E5B-E0D9-47D5-A1EA-D80BCEB76DF4}">
      <dsp:nvSpPr>
        <dsp:cNvPr id="0" name=""/>
        <dsp:cNvSpPr/>
      </dsp:nvSpPr>
      <dsp:spPr>
        <a:xfrm>
          <a:off x="7102877" y="487481"/>
          <a:ext cx="810000" cy="81000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B10AD00-8862-44C6-906A-67D5F52CD0D3}">
      <dsp:nvSpPr>
        <dsp:cNvPr id="0" name=""/>
        <dsp:cNvSpPr/>
      </dsp:nvSpPr>
      <dsp:spPr>
        <a:xfrm>
          <a:off x="6360566" y="1596571"/>
          <a:ext cx="2294622" cy="884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l" defTabSz="488950">
            <a:lnSpc>
              <a:spcPct val="90000"/>
            </a:lnSpc>
            <a:spcBef>
              <a:spcPct val="0"/>
            </a:spcBef>
            <a:spcAft>
              <a:spcPct val="35000"/>
            </a:spcAft>
          </a:pPr>
          <a:r>
            <a:rPr lang="de-DE" sz="1100" b="1" kern="1200" dirty="0"/>
            <a:t>Soziales</a:t>
          </a:r>
          <a:r>
            <a:rPr lang="de-DE" sz="1100" kern="1200" dirty="0"/>
            <a:t/>
          </a:r>
          <a:br>
            <a:rPr lang="de-DE" sz="1100" kern="1200" dirty="0"/>
          </a:br>
          <a:r>
            <a:rPr lang="de-DE" sz="1100" kern="1200" dirty="0"/>
            <a:t>ESRS S1 </a:t>
          </a:r>
          <a:r>
            <a:rPr lang="de-DE" sz="1100" kern="1200" dirty="0" err="1"/>
            <a:t>Own</a:t>
          </a:r>
          <a:r>
            <a:rPr lang="de-DE" sz="1100" kern="1200" dirty="0"/>
            <a:t> </a:t>
          </a:r>
          <a:r>
            <a:rPr lang="de-DE" sz="1100" kern="1200" dirty="0" err="1"/>
            <a:t>Workforce</a:t>
          </a:r>
          <a:r>
            <a:rPr lang="de-DE" sz="1100" kern="1200" dirty="0"/>
            <a:t/>
          </a:r>
          <a:br>
            <a:rPr lang="de-DE" sz="1100" kern="1200" dirty="0"/>
          </a:br>
          <a:r>
            <a:rPr lang="de-DE" sz="1100" kern="1200" dirty="0"/>
            <a:t>ESRS S2 </a:t>
          </a:r>
          <a:r>
            <a:rPr lang="de-DE" sz="1100" kern="1200" dirty="0" err="1"/>
            <a:t>Workers</a:t>
          </a:r>
          <a:r>
            <a:rPr lang="de-DE" sz="1100" kern="1200" dirty="0"/>
            <a:t> in </a:t>
          </a:r>
          <a:r>
            <a:rPr lang="de-DE" sz="1100" kern="1200" dirty="0" err="1"/>
            <a:t>the</a:t>
          </a:r>
          <a:r>
            <a:rPr lang="de-DE" sz="1100" kern="1200" dirty="0"/>
            <a:t> Value Chain</a:t>
          </a:r>
          <a:br>
            <a:rPr lang="de-DE" sz="1100" kern="1200" dirty="0"/>
          </a:br>
          <a:r>
            <a:rPr lang="de-DE" sz="1100" kern="1200" dirty="0"/>
            <a:t>ESRS S3 </a:t>
          </a:r>
          <a:r>
            <a:rPr lang="de-DE" sz="1100" kern="1200" dirty="0" err="1"/>
            <a:t>Affected</a:t>
          </a:r>
          <a:r>
            <a:rPr lang="de-DE" sz="1100" kern="1200" dirty="0"/>
            <a:t> Communities</a:t>
          </a:r>
          <a:br>
            <a:rPr lang="de-DE" sz="1100" kern="1200" dirty="0"/>
          </a:br>
          <a:r>
            <a:rPr lang="de-DE" sz="1100" kern="1200" dirty="0"/>
            <a:t>ESRS S4 </a:t>
          </a:r>
          <a:r>
            <a:rPr lang="de-DE" sz="1100" kern="1200" dirty="0" err="1"/>
            <a:t>Consumers</a:t>
          </a:r>
          <a:r>
            <a:rPr lang="de-DE" sz="1100" kern="1200" dirty="0"/>
            <a:t> / End Users</a:t>
          </a:r>
          <a:endParaRPr lang="en-US" sz="1100" kern="1200" dirty="0"/>
        </a:p>
      </dsp:txBody>
      <dsp:txXfrm>
        <a:off x="6360566" y="1596571"/>
        <a:ext cx="2294622" cy="884571"/>
      </dsp:txXfrm>
    </dsp:sp>
    <dsp:sp modelId="{5600640B-2C42-4100-96EA-AF484EB45DAE}">
      <dsp:nvSpPr>
        <dsp:cNvPr id="0" name=""/>
        <dsp:cNvSpPr/>
      </dsp:nvSpPr>
      <dsp:spPr>
        <a:xfrm>
          <a:off x="9465188" y="487481"/>
          <a:ext cx="810000" cy="81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632458E-2E37-420F-96A5-CE64307D5974}">
      <dsp:nvSpPr>
        <dsp:cNvPr id="0" name=""/>
        <dsp:cNvSpPr/>
      </dsp:nvSpPr>
      <dsp:spPr>
        <a:xfrm>
          <a:off x="8970188" y="1596571"/>
          <a:ext cx="1800000" cy="8845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488950">
            <a:lnSpc>
              <a:spcPct val="90000"/>
            </a:lnSpc>
            <a:spcBef>
              <a:spcPct val="0"/>
            </a:spcBef>
            <a:spcAft>
              <a:spcPct val="35000"/>
            </a:spcAft>
          </a:pPr>
          <a:r>
            <a:rPr lang="de-DE" sz="1100" b="1" kern="1200"/>
            <a:t>Governance</a:t>
          </a:r>
          <a:r>
            <a:rPr lang="de-DE" sz="1100" kern="1200"/>
            <a:t/>
          </a:r>
          <a:br>
            <a:rPr lang="de-DE" sz="1100" kern="1200"/>
          </a:br>
          <a:r>
            <a:rPr lang="de-DE" sz="1100" kern="1200"/>
            <a:t>ESRS G1 Business Conduct</a:t>
          </a:r>
          <a:endParaRPr lang="en-US" sz="1100" kern="1200"/>
        </a:p>
      </dsp:txBody>
      <dsp:txXfrm>
        <a:off x="8970188" y="1596571"/>
        <a:ext cx="1800000" cy="88457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49CE38-1FDE-4139-8853-C6BA671E58D7}">
      <dsp:nvSpPr>
        <dsp:cNvPr id="0" name=""/>
        <dsp:cNvSpPr/>
      </dsp:nvSpPr>
      <dsp:spPr>
        <a:xfrm>
          <a:off x="3268" y="706376"/>
          <a:ext cx="2593119" cy="155587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t>Fehlendes Know-how</a:t>
          </a:r>
          <a:r>
            <a:rPr lang="de-DE" sz="1500" kern="1200" baseline="0" dirty="0" smtClean="0"/>
            <a:t> und einfach handhabbare Instrumentarien, um Nachhaltigkeit im Unternehmen systematisch planen und messen zu können.</a:t>
          </a:r>
          <a:endParaRPr lang="de-DE" sz="1500" kern="1200" dirty="0"/>
        </a:p>
      </dsp:txBody>
      <dsp:txXfrm>
        <a:off x="3268" y="706376"/>
        <a:ext cx="2593119" cy="1555871"/>
      </dsp:txXfrm>
    </dsp:sp>
    <dsp:sp modelId="{F9308BCA-B9DA-4AAB-A91A-EB79A5AD8EBF}">
      <dsp:nvSpPr>
        <dsp:cNvPr id="0" name=""/>
        <dsp:cNvSpPr/>
      </dsp:nvSpPr>
      <dsp:spPr>
        <a:xfrm>
          <a:off x="2855699" y="706376"/>
          <a:ext cx="2593119" cy="155587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baseline="0" smtClean="0"/>
            <a:t>Mangelnde Verfügbarkeit relevanter Daten, sodass Effekte einzelner Steuerungsmaßnahmen nicht präzise zu ermitteln sind.</a:t>
          </a:r>
          <a:endParaRPr lang="de-DE" sz="1500" kern="1200" baseline="0" dirty="0" smtClean="0"/>
        </a:p>
      </dsp:txBody>
      <dsp:txXfrm>
        <a:off x="2855699" y="706376"/>
        <a:ext cx="2593119" cy="1555871"/>
      </dsp:txXfrm>
    </dsp:sp>
    <dsp:sp modelId="{5DCB0F19-E495-42E0-9669-2A2110ADCB19}">
      <dsp:nvSpPr>
        <dsp:cNvPr id="0" name=""/>
        <dsp:cNvSpPr/>
      </dsp:nvSpPr>
      <dsp:spPr>
        <a:xfrm>
          <a:off x="5708130" y="706376"/>
          <a:ext cx="2593119" cy="155587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baseline="0" smtClean="0"/>
            <a:t>Wo anfangen?</a:t>
          </a:r>
          <a:endParaRPr lang="de-DE" sz="1500" kern="1200" baseline="0" dirty="0" smtClean="0"/>
        </a:p>
      </dsp:txBody>
      <dsp:txXfrm>
        <a:off x="5708130" y="706376"/>
        <a:ext cx="2593119" cy="1555871"/>
      </dsp:txXfrm>
    </dsp:sp>
    <dsp:sp modelId="{B6A5BCDF-155A-4611-8882-E2B182039D0B}">
      <dsp:nvSpPr>
        <dsp:cNvPr id="0" name=""/>
        <dsp:cNvSpPr/>
      </dsp:nvSpPr>
      <dsp:spPr>
        <a:xfrm>
          <a:off x="8560562" y="706376"/>
          <a:ext cx="2593119" cy="155587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baseline="0" smtClean="0"/>
            <a:t>Finanzierung erlaubt zumeist lediglich gesetzliche Mindestanforderungen.</a:t>
          </a:r>
          <a:endParaRPr lang="de-DE" sz="1500" kern="1200" dirty="0"/>
        </a:p>
      </dsp:txBody>
      <dsp:txXfrm>
        <a:off x="8560562" y="706376"/>
        <a:ext cx="2593119" cy="155587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C848A0-471A-4311-8D71-93D606183FA1}">
      <dsp:nvSpPr>
        <dsp:cNvPr id="0" name=""/>
        <dsp:cNvSpPr/>
      </dsp:nvSpPr>
      <dsp:spPr>
        <a:xfrm>
          <a:off x="3268" y="828614"/>
          <a:ext cx="2593119" cy="155587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de-DE" sz="1700" kern="1200" smtClean="0"/>
            <a:t>Wettbewerbsvorteil (auch als AG)</a:t>
          </a:r>
          <a:endParaRPr lang="de-DE" sz="1700" kern="1200"/>
        </a:p>
      </dsp:txBody>
      <dsp:txXfrm>
        <a:off x="3268" y="828614"/>
        <a:ext cx="2593119" cy="1555871"/>
      </dsp:txXfrm>
    </dsp:sp>
    <dsp:sp modelId="{98E39A6B-C777-4E7F-AB1E-6EAEDC62E45E}">
      <dsp:nvSpPr>
        <dsp:cNvPr id="0" name=""/>
        <dsp:cNvSpPr/>
      </dsp:nvSpPr>
      <dsp:spPr>
        <a:xfrm>
          <a:off x="2855699" y="828614"/>
          <a:ext cx="2593119" cy="155587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de-DE" sz="1700" kern="1200" smtClean="0"/>
            <a:t>Einsparpotenziale (z.B. in der Beschaffung)</a:t>
          </a:r>
          <a:endParaRPr lang="de-DE" sz="1700" kern="1200" dirty="0" smtClean="0"/>
        </a:p>
      </dsp:txBody>
      <dsp:txXfrm>
        <a:off x="2855699" y="828614"/>
        <a:ext cx="2593119" cy="1555871"/>
      </dsp:txXfrm>
    </dsp:sp>
    <dsp:sp modelId="{923CDEEE-84F9-4E16-8E1E-2144FA1CE87F}">
      <dsp:nvSpPr>
        <dsp:cNvPr id="0" name=""/>
        <dsp:cNvSpPr/>
      </dsp:nvSpPr>
      <dsp:spPr>
        <a:xfrm>
          <a:off x="5708130" y="828614"/>
          <a:ext cx="2593119" cy="155587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de-DE" sz="1700" kern="1200" smtClean="0"/>
            <a:t>Kapitalgeber wollen zunehmend wissen, welche Nachhaltigkeitskriterien an Investment geknüpft sind</a:t>
          </a:r>
          <a:endParaRPr lang="de-DE" sz="1700" kern="1200" dirty="0" smtClean="0"/>
        </a:p>
      </dsp:txBody>
      <dsp:txXfrm>
        <a:off x="5708130" y="828614"/>
        <a:ext cx="2593119" cy="1555871"/>
      </dsp:txXfrm>
    </dsp:sp>
    <dsp:sp modelId="{C721D9E9-75E3-415D-8174-5C5D6D479122}">
      <dsp:nvSpPr>
        <dsp:cNvPr id="0" name=""/>
        <dsp:cNvSpPr/>
      </dsp:nvSpPr>
      <dsp:spPr>
        <a:xfrm>
          <a:off x="8560562" y="828614"/>
          <a:ext cx="2593119" cy="1555871"/>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de-DE" sz="1700" kern="1200" smtClean="0"/>
            <a:t>Anforderungen von Auftraggebern müssen erfüllt werden (Bsp: LkSG)</a:t>
          </a:r>
          <a:endParaRPr lang="de-DE" sz="1700" kern="1200" dirty="0"/>
        </a:p>
      </dsp:txBody>
      <dsp:txXfrm>
        <a:off x="8560562" y="828614"/>
        <a:ext cx="2593119" cy="155587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E2278B16-A598-E047-B6E5-1DA7494088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40975532-0E54-0542-A104-2ABA46191AD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38058B-55B0-E04D-AA58-D10B665DEEA1}" type="datetimeFigureOut">
              <a:t>20.09.2023</a:t>
            </a:fld>
            <a:endParaRPr lang="de-DE"/>
          </a:p>
        </p:txBody>
      </p:sp>
      <p:sp>
        <p:nvSpPr>
          <p:cNvPr id="4" name="Fußzeilenplatzhalter 3">
            <a:extLst>
              <a:ext uri="{FF2B5EF4-FFF2-40B4-BE49-F238E27FC236}">
                <a16:creationId xmlns:a16="http://schemas.microsoft.com/office/drawing/2014/main" id="{0F4BA089-3A18-6E40-82FD-1B92685B505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50188220-7700-114D-971B-9716A9E9DFB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0FFB11A-CBFD-CA4F-9A73-409E0C6D3172}" type="slidenum">
              <a:t>‹Nr.›</a:t>
            </a:fld>
            <a:endParaRPr lang="de-DE"/>
          </a:p>
        </p:txBody>
      </p:sp>
    </p:spTree>
    <p:extLst>
      <p:ext uri="{BB962C8B-B14F-4D97-AF65-F5344CB8AC3E}">
        <p14:creationId xmlns:p14="http://schemas.microsoft.com/office/powerpoint/2010/main" val="2661150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21445-E2E2-AC47-8A18-D2879242A5B4}" type="datetimeFigureOut">
              <a:rPr lang="de-DE" smtClean="0"/>
              <a:t>20.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2DC52F-B66A-9846-A889-F07026C1BDEC}" type="slidenum">
              <a:rPr lang="de-DE" smtClean="0"/>
              <a:t>‹Nr.›</a:t>
            </a:fld>
            <a:endParaRPr lang="de-DE"/>
          </a:p>
        </p:txBody>
      </p:sp>
    </p:spTree>
    <p:extLst>
      <p:ext uri="{BB962C8B-B14F-4D97-AF65-F5344CB8AC3E}">
        <p14:creationId xmlns:p14="http://schemas.microsoft.com/office/powerpoint/2010/main" val="3224558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sr-in-deutschland.de/DE/CSR-Allgemein/CSR-Politik/CSR-in-Deutschland/Aktivitaeten-der-Bundesregierung/aktivitaeten-der-bundesregierung.html"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sr-in-deutschland.de/DE/CSR-Allgemein/CSR-Politik/CSR-in-Deutschland/Aktivitaeten-der-Bundesregierung/aktivitaeten-der-bundesregierung.html"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csr-in-deutschland.de/DE/CSR-Allgemein/CSR-Politik/CSR-in-Deutschland/Aktivitaeten-der-Bundesregierung/aktivitaeten-der-bundesregierung.html"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www.globalcompact.de/"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dqsglobal.com/de-de/zertifizieren/externe-pruefung-nachhaltigkeitsbericht"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deutscher-nachhaltigkeitskodex.de/Home/Services/Glossar#N"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deutscher-nachhaltigkeitskodex.de/Home/Services/Glossar#L"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csr-in-deutschland.de/DE/Wirtschaft-Menschenrechte/Gesetz-ueber-die-unternehmerischen-Sorgfaltspflichten-in-Lieferketten/gesetz-ueber-die-unternehmerischen-sorgfaltspflichten-in-lieferketten.html" TargetMode="External"/><Relationship Id="rId3" Type="http://schemas.openxmlformats.org/officeDocument/2006/relationships/hyperlink" Target="https://www.deutscher-nachhaltigkeitskodex.de/Home/Services/Glossar#R" TargetMode="External"/><Relationship Id="rId7" Type="http://schemas.openxmlformats.org/officeDocument/2006/relationships/hyperlink" Target="https://www.bundesregierung.de/resource/blob/974430/318158/c521116c6e6659b26d5ff286ff67408c/2010-12-07-aktionsplan-csr-data.pdf?download=1"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deutscher-nachhaltigkeitskodex.de/Home/Services/Glossar#K" TargetMode="External"/><Relationship Id="rId5" Type="http://schemas.openxmlformats.org/officeDocument/2006/relationships/hyperlink" Target="https://www.deutscher-nachhaltigkeitskodex.de/Home/Services/Glossar#M" TargetMode="External"/><Relationship Id="rId4" Type="http://schemas.openxmlformats.org/officeDocument/2006/relationships/hyperlink" Target="https://www.deutscher-nachhaltigkeitskodex.de/Home/Services/Glossar#L"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bafa.de/DE/Lieferketten/Ueberblick/ueberblick_node.html"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eur-lex.europa.eu/legal-content/DE/TXT/?uri=uriserv%3AOJ.L_.2022.322.01.0015.01.DEU&amp;toc=OJ%3AL%3A2022%3A322%3ATOC"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2</a:t>
            </a:fld>
            <a:endParaRPr lang="de-DE"/>
          </a:p>
        </p:txBody>
      </p:sp>
    </p:spTree>
    <p:extLst>
      <p:ext uri="{BB962C8B-B14F-4D97-AF65-F5344CB8AC3E}">
        <p14:creationId xmlns:p14="http://schemas.microsoft.com/office/powerpoint/2010/main" val="57501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a:solidFill>
                  <a:schemeClr val="tx1"/>
                </a:solidFill>
                <a:effectLst/>
                <a:latin typeface="+mn-lt"/>
                <a:ea typeface="+mn-ea"/>
                <a:cs typeface="+mn-cs"/>
              </a:rPr>
              <a:t>Die Standards müssen nun von der Europäischen Kommission angenommen oder zuvor nochmals überarbeitet werden, bevor sie – voraussichtlich ab dem Berichtsjahr 2024 – als delegierte Rechtsakte von Unternehmen im Anwendungsbereich der Corporate </a:t>
            </a:r>
            <a:r>
              <a:rPr lang="de-DE" sz="1200" b="0" i="0" kern="1200" err="1">
                <a:solidFill>
                  <a:schemeClr val="tx1"/>
                </a:solidFill>
                <a:effectLst/>
                <a:latin typeface="+mn-lt"/>
                <a:ea typeface="+mn-ea"/>
                <a:cs typeface="+mn-cs"/>
              </a:rPr>
              <a:t>Sustainability</a:t>
            </a:r>
            <a:r>
              <a:rPr lang="de-DE" sz="1200" b="0" i="0" kern="1200">
                <a:solidFill>
                  <a:schemeClr val="tx1"/>
                </a:solidFill>
                <a:effectLst/>
                <a:latin typeface="+mn-lt"/>
                <a:ea typeface="+mn-ea"/>
                <a:cs typeface="+mn-cs"/>
              </a:rPr>
              <a:t> Reporting </a:t>
            </a:r>
            <a:r>
              <a:rPr lang="de-DE" sz="1200" b="0" i="0" kern="1200" err="1">
                <a:solidFill>
                  <a:schemeClr val="tx1"/>
                </a:solidFill>
                <a:effectLst/>
                <a:latin typeface="+mn-lt"/>
                <a:ea typeface="+mn-ea"/>
                <a:cs typeface="+mn-cs"/>
              </a:rPr>
              <a:t>Directive</a:t>
            </a:r>
            <a:r>
              <a:rPr lang="de-DE" sz="1200" b="0" i="0" kern="1200">
                <a:solidFill>
                  <a:schemeClr val="tx1"/>
                </a:solidFill>
                <a:effectLst/>
                <a:latin typeface="+mn-lt"/>
                <a:ea typeface="+mn-ea"/>
                <a:cs typeface="+mn-cs"/>
              </a:rPr>
              <a:t> (CSRD) anzuwenden sind.</a:t>
            </a:r>
            <a:endParaRPr lang="de-DE"/>
          </a:p>
        </p:txBody>
      </p:sp>
      <p:sp>
        <p:nvSpPr>
          <p:cNvPr id="4" name="Foliennummernplatzhalter 3"/>
          <p:cNvSpPr>
            <a:spLocks noGrp="1"/>
          </p:cNvSpPr>
          <p:nvPr>
            <p:ph type="sldNum" sz="quarter" idx="10"/>
          </p:nvPr>
        </p:nvSpPr>
        <p:spPr/>
        <p:txBody>
          <a:bodyPr/>
          <a:lstStyle/>
          <a:p>
            <a:fld id="{452DC52F-B66A-9846-A889-F07026C1BDEC}" type="slidenum">
              <a:rPr lang="de-DE" smtClean="0"/>
              <a:t>14</a:t>
            </a:fld>
            <a:endParaRPr lang="de-DE"/>
          </a:p>
        </p:txBody>
      </p:sp>
    </p:spTree>
    <p:extLst>
      <p:ext uri="{BB962C8B-B14F-4D97-AF65-F5344CB8AC3E}">
        <p14:creationId xmlns:p14="http://schemas.microsoft.com/office/powerpoint/2010/main" val="24215174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Fehlendes Know-how</a:t>
            </a:r>
            <a:r>
              <a:rPr lang="de-DE" baseline="0" dirty="0" smtClean="0"/>
              <a:t> und einfach handhabbare Instrumentarien, um Nachhaltigkeit im Unternehmen systematisch planen und messen zu können.</a:t>
            </a:r>
          </a:p>
          <a:p>
            <a:r>
              <a:rPr lang="de-DE" baseline="0" dirty="0" smtClean="0"/>
              <a:t>Mangelnde Verfügbarkeit relevanter Daten, sodass Effekte einzelner Steuerungsmaßnahmen nicht präzise zu ermitteln sind.</a:t>
            </a:r>
          </a:p>
          <a:p>
            <a:r>
              <a:rPr lang="de-DE" baseline="0" dirty="0" smtClean="0"/>
              <a:t>Wo anfangen?</a:t>
            </a:r>
          </a:p>
          <a:p>
            <a:r>
              <a:rPr lang="de-DE" baseline="0" dirty="0" smtClean="0"/>
              <a:t>Finanzierung erlaubt zumeist lediglich gesetzliche Mindestanforderungen.</a:t>
            </a:r>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15</a:t>
            </a:fld>
            <a:endParaRPr lang="de-DE"/>
          </a:p>
        </p:txBody>
      </p:sp>
    </p:spTree>
    <p:extLst>
      <p:ext uri="{BB962C8B-B14F-4D97-AF65-F5344CB8AC3E}">
        <p14:creationId xmlns:p14="http://schemas.microsoft.com/office/powerpoint/2010/main" val="568090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17</a:t>
            </a:fld>
            <a:endParaRPr lang="de-DE"/>
          </a:p>
        </p:txBody>
      </p:sp>
    </p:spTree>
    <p:extLst>
      <p:ext uri="{BB962C8B-B14F-4D97-AF65-F5344CB8AC3E}">
        <p14:creationId xmlns:p14="http://schemas.microsoft.com/office/powerpoint/2010/main" val="2540046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smtClean="0">
                <a:solidFill>
                  <a:schemeClr val="tx1"/>
                </a:solidFill>
                <a:effectLst/>
                <a:latin typeface="+mn-lt"/>
                <a:ea typeface="+mn-ea"/>
                <a:cs typeface="+mn-cs"/>
              </a:rPr>
              <a:t>Die Leitsätze wurden gemeinsam von den OECD-Mitgliedstaaten in Zusammenarbeit mit Unternehmen, Gewerkschaften und der Zivilgesellschaft als Empfehlungen für Unternehmen erarbeitet und basieren auf dem Prinzip der Freiwilligkeit. Die unterzeichnenden Staaten sind jedoch verpflichtet, die Leitsätze - den einzig multilateral vereinbarten und umfassenden Kodex für verantwortungsvolles unternehmerisches Handeln – zu fördern. Umgesetzt wird dies durch Nationale Kontaktstellen (NKS). Die deutsche NKS ist im Bundesministerium für Wirtschaft und Energie (</a:t>
            </a:r>
            <a:r>
              <a:rPr lang="de-DE" sz="1200" b="0" i="0" kern="1200" dirty="0" err="1" smtClean="0">
                <a:solidFill>
                  <a:schemeClr val="tx1"/>
                </a:solidFill>
                <a:effectLst/>
                <a:latin typeface="+mn-lt"/>
                <a:ea typeface="+mn-ea"/>
                <a:cs typeface="+mn-cs"/>
              </a:rPr>
              <a:t>BMWi</a:t>
            </a:r>
            <a:r>
              <a:rPr lang="de-DE" sz="1200" b="0" i="0" kern="1200" dirty="0" smtClean="0">
                <a:solidFill>
                  <a:schemeClr val="tx1"/>
                </a:solidFill>
                <a:effectLst/>
                <a:latin typeface="+mn-lt"/>
                <a:ea typeface="+mn-ea"/>
                <a:cs typeface="+mn-cs"/>
              </a:rPr>
              <a:t>) in der Abteilung V angesiedelt. Hier finden Sie </a:t>
            </a:r>
            <a:r>
              <a:rPr lang="de-DE" sz="1200" b="0" i="0" u="none" strike="noStrike" kern="1200" dirty="0" smtClean="0">
                <a:solidFill>
                  <a:schemeClr val="tx1"/>
                </a:solidFill>
                <a:effectLst/>
                <a:latin typeface="+mn-lt"/>
                <a:ea typeface="+mn-ea"/>
                <a:cs typeface="+mn-cs"/>
                <a:hlinkClick r:id="rId3" tooltip="Aktivitäten der Bundesregierung"/>
              </a:rPr>
              <a:t>Informationen zu ihren Aufgaben</a:t>
            </a:r>
            <a:r>
              <a:rPr lang="de-DE" sz="1200" b="0" i="0" kern="1200" dirty="0" smtClean="0">
                <a:solidFill>
                  <a:schemeClr val="tx1"/>
                </a:solidFill>
                <a:effectLst/>
                <a:latin typeface="+mn-lt"/>
                <a:ea typeface="+mn-ea"/>
                <a:cs typeface="+mn-cs"/>
              </a:rPr>
              <a:t>.</a:t>
            </a:r>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19</a:t>
            </a:fld>
            <a:endParaRPr lang="de-DE"/>
          </a:p>
        </p:txBody>
      </p:sp>
    </p:spTree>
    <p:extLst>
      <p:ext uri="{BB962C8B-B14F-4D97-AF65-F5344CB8AC3E}">
        <p14:creationId xmlns:p14="http://schemas.microsoft.com/office/powerpoint/2010/main" val="36064972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smtClean="0">
                <a:solidFill>
                  <a:schemeClr val="tx1"/>
                </a:solidFill>
                <a:effectLst/>
                <a:latin typeface="+mn-lt"/>
                <a:ea typeface="+mn-ea"/>
                <a:cs typeface="+mn-cs"/>
              </a:rPr>
              <a:t>Die Leitsätze wurden gemeinsam von den OECD-Mitgliedstaaten in Zusammenarbeit mit Unternehmen, Gewerkschaften und der Zivilgesellschaft als Empfehlungen für Unternehmen erarbeitet und basieren auf dem Prinzip der Freiwilligkeit. Die unterzeichnenden Staaten sind jedoch verpflichtet, die Leitsätze - den einzig multilateral vereinbarten und umfassenden Kodex für verantwortungsvolles unternehmerisches Handeln – zu fördern. Umgesetzt wird dies durch Nationale Kontaktstellen (NKS). Die deutsche NKS ist im Bundesministerium für Wirtschaft und Energie (</a:t>
            </a:r>
            <a:r>
              <a:rPr lang="de-DE" sz="1200" b="0" i="0" kern="1200" dirty="0" err="1" smtClean="0">
                <a:solidFill>
                  <a:schemeClr val="tx1"/>
                </a:solidFill>
                <a:effectLst/>
                <a:latin typeface="+mn-lt"/>
                <a:ea typeface="+mn-ea"/>
                <a:cs typeface="+mn-cs"/>
              </a:rPr>
              <a:t>BMWi</a:t>
            </a:r>
            <a:r>
              <a:rPr lang="de-DE" sz="1200" b="0" i="0" kern="1200" dirty="0" smtClean="0">
                <a:solidFill>
                  <a:schemeClr val="tx1"/>
                </a:solidFill>
                <a:effectLst/>
                <a:latin typeface="+mn-lt"/>
                <a:ea typeface="+mn-ea"/>
                <a:cs typeface="+mn-cs"/>
              </a:rPr>
              <a:t>) in der Abteilung V angesiedelt. Hier finden Sie </a:t>
            </a:r>
            <a:r>
              <a:rPr lang="de-DE" sz="1200" b="0" i="0" u="none" strike="noStrike" kern="1200" dirty="0" smtClean="0">
                <a:solidFill>
                  <a:schemeClr val="tx1"/>
                </a:solidFill>
                <a:effectLst/>
                <a:latin typeface="+mn-lt"/>
                <a:ea typeface="+mn-ea"/>
                <a:cs typeface="+mn-cs"/>
                <a:hlinkClick r:id="rId3" tooltip="Aktivitäten der Bundesregierung"/>
              </a:rPr>
              <a:t>Informationen zu ihren Aufgaben</a:t>
            </a:r>
            <a:r>
              <a:rPr lang="de-DE" sz="1200" b="0" i="0" kern="1200" dirty="0" smtClean="0">
                <a:solidFill>
                  <a:schemeClr val="tx1"/>
                </a:solidFill>
                <a:effectLst/>
                <a:latin typeface="+mn-lt"/>
                <a:ea typeface="+mn-ea"/>
                <a:cs typeface="+mn-cs"/>
              </a:rPr>
              <a:t>.</a:t>
            </a:r>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20</a:t>
            </a:fld>
            <a:endParaRPr lang="de-DE"/>
          </a:p>
        </p:txBody>
      </p:sp>
    </p:spTree>
    <p:extLst>
      <p:ext uri="{BB962C8B-B14F-4D97-AF65-F5344CB8AC3E}">
        <p14:creationId xmlns:p14="http://schemas.microsoft.com/office/powerpoint/2010/main" val="37540487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smtClean="0">
                <a:solidFill>
                  <a:schemeClr val="tx1"/>
                </a:solidFill>
                <a:effectLst/>
                <a:latin typeface="+mn-lt"/>
                <a:ea typeface="+mn-ea"/>
                <a:cs typeface="+mn-cs"/>
              </a:rPr>
              <a:t>Die Leitsätze wurden gemeinsam von den OECD-Mitgliedstaaten in Zusammenarbeit mit Unternehmen, Gewerkschaften und der Zivilgesellschaft als Empfehlungen für Unternehmen erarbeitet und basieren auf dem Prinzip der Freiwilligkeit. Die unterzeichnenden Staaten sind jedoch verpflichtet, die Leitsätze - den einzig multilateral vereinbarten und umfassenden Kodex für verantwortungsvolles unternehmerisches Handeln – zu fördern. Umgesetzt wird dies durch Nationale Kontaktstellen (NKS). Die deutsche NKS ist im Bundesministerium für Wirtschaft und Energie (</a:t>
            </a:r>
            <a:r>
              <a:rPr lang="de-DE" sz="1200" b="0" i="0" kern="1200" dirty="0" err="1" smtClean="0">
                <a:solidFill>
                  <a:schemeClr val="tx1"/>
                </a:solidFill>
                <a:effectLst/>
                <a:latin typeface="+mn-lt"/>
                <a:ea typeface="+mn-ea"/>
                <a:cs typeface="+mn-cs"/>
              </a:rPr>
              <a:t>BMWi</a:t>
            </a:r>
            <a:r>
              <a:rPr lang="de-DE" sz="1200" b="0" i="0" kern="1200" dirty="0" smtClean="0">
                <a:solidFill>
                  <a:schemeClr val="tx1"/>
                </a:solidFill>
                <a:effectLst/>
                <a:latin typeface="+mn-lt"/>
                <a:ea typeface="+mn-ea"/>
                <a:cs typeface="+mn-cs"/>
              </a:rPr>
              <a:t>) in der Abteilung V angesiedelt. Hier finden Sie </a:t>
            </a:r>
            <a:r>
              <a:rPr lang="de-DE" sz="1200" b="0" i="0" u="none" strike="noStrike" kern="1200" dirty="0" smtClean="0">
                <a:solidFill>
                  <a:schemeClr val="tx1"/>
                </a:solidFill>
                <a:effectLst/>
                <a:latin typeface="+mn-lt"/>
                <a:ea typeface="+mn-ea"/>
                <a:cs typeface="+mn-cs"/>
                <a:hlinkClick r:id="rId3" tooltip="Aktivitäten der Bundesregierung"/>
              </a:rPr>
              <a:t>Informationen zu ihren Aufgaben</a:t>
            </a:r>
            <a:r>
              <a:rPr lang="de-DE" sz="1200" b="0" i="0" kern="1200" dirty="0" smtClean="0">
                <a:solidFill>
                  <a:schemeClr val="tx1"/>
                </a:solidFill>
                <a:effectLst/>
                <a:latin typeface="+mn-lt"/>
                <a:ea typeface="+mn-ea"/>
                <a:cs typeface="+mn-cs"/>
              </a:rPr>
              <a:t>.</a:t>
            </a:r>
          </a:p>
          <a:p>
            <a:endParaRPr lang="de-DE" sz="1200" b="0" i="0" kern="1200" dirty="0" smtClean="0">
              <a:solidFill>
                <a:schemeClr val="tx1"/>
              </a:solidFill>
              <a:effectLst/>
              <a:latin typeface="+mn-lt"/>
              <a:ea typeface="+mn-ea"/>
              <a:cs typeface="+mn-cs"/>
            </a:endParaRPr>
          </a:p>
          <a:p>
            <a:r>
              <a:rPr lang="de-DE" sz="1200" dirty="0" smtClean="0"/>
              <a:t>Der UN Global Compact ist ein internationaler Zusammenschluss von Unternehmen, die sich in ihrer Geschäftstätigkeit zu zehn weltweit gültigen Prinzipien in den Bereichen Menschenrechte, Arbeit, Umwelt und Korruptionsbekämpfung verpflichtet haben</a:t>
            </a:r>
          </a:p>
          <a:p>
            <a:r>
              <a:rPr lang="de-DE" sz="1200" dirty="0" smtClean="0"/>
              <a:t>10 Prinzipien hergeleitet aus 4 zentralen internationalen Ankommen: Allgemeine Erklärung der Menschenrechte, der </a:t>
            </a:r>
            <a:r>
              <a:rPr lang="de-DE" sz="1200" dirty="0" err="1" smtClean="0"/>
              <a:t>Eklärung</a:t>
            </a:r>
            <a:r>
              <a:rPr lang="de-DE" sz="1200" dirty="0" smtClean="0"/>
              <a:t> über die grundlegenden Prinzipien und Rechte der Arbeit der ILO, den Grundsätzen der Erklärung </a:t>
            </a:r>
            <a:r>
              <a:rPr lang="de-DE" sz="1200" dirty="0" err="1" smtClean="0"/>
              <a:t>con</a:t>
            </a:r>
            <a:r>
              <a:rPr lang="de-DE" sz="1200" dirty="0" smtClean="0"/>
              <a:t> Rio Über Umwelt und Entwicklung, sowie der </a:t>
            </a:r>
            <a:r>
              <a:rPr lang="de-DE" sz="1200" dirty="0" err="1" smtClean="0"/>
              <a:t>UN_konvention</a:t>
            </a:r>
            <a:r>
              <a:rPr lang="de-DE" sz="1200" dirty="0" smtClean="0"/>
              <a:t> gegen Korruption</a:t>
            </a:r>
          </a:p>
          <a:p>
            <a:r>
              <a:rPr lang="de-DE" sz="1200" dirty="0" smtClean="0"/>
              <a:t>Bereits über 17.500 Unternehmen und Organisationen aus Zivilgesellschaft, Politik und Wissenschaft in mehr als 170 Ländern sind der Initiative beigetreten, um die Vision einer verantwortungsvollen Unternehmensführung zu verwirklichen</a:t>
            </a:r>
          </a:p>
          <a:p>
            <a:r>
              <a:rPr lang="de-DE" sz="1200" dirty="0" smtClean="0"/>
              <a:t>In </a:t>
            </a:r>
            <a:r>
              <a:rPr lang="de-DE" sz="1200" dirty="0" smtClean="0">
                <a:hlinkClick r:id="rId4" tooltip="zur Website www.globalcompact.de."/>
              </a:rPr>
              <a:t>nationalen Netzwerken</a:t>
            </a:r>
            <a:r>
              <a:rPr lang="de-DE" sz="1200" dirty="0" smtClean="0"/>
              <a:t> tauschen die Mitglieder Erfahrungen aus und entwickeln konkrete Lösungsansätze in Form von Konzepten, Leitfäden und Instrumente für einen Beitrag der Wirtschaft zur nachhaltigen Entwicklung</a:t>
            </a:r>
            <a:r>
              <a:rPr lang="de-DE" dirty="0" smtClean="0"/>
              <a:t>.</a:t>
            </a:r>
            <a:endParaRPr lang="de-DE" sz="1100" dirty="0" smtClean="0"/>
          </a:p>
          <a:p>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21</a:t>
            </a:fld>
            <a:endParaRPr lang="de-DE"/>
          </a:p>
        </p:txBody>
      </p:sp>
    </p:spTree>
    <p:extLst>
      <p:ext uri="{BB962C8B-B14F-4D97-AF65-F5344CB8AC3E}">
        <p14:creationId xmlns:p14="http://schemas.microsoft.com/office/powerpoint/2010/main" val="2701710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smtClean="0">
                <a:solidFill>
                  <a:schemeClr val="tx1"/>
                </a:solidFill>
                <a:effectLst/>
                <a:latin typeface="+mn-lt"/>
                <a:ea typeface="+mn-ea"/>
                <a:cs typeface="+mn-cs"/>
              </a:rPr>
              <a:t>Auch ist damit zu rechnen, dass die Pflicht zur Berichterstattung künftig auf mehr Unternehmen ausgedehnt und wesentlich konkreter ausgestaltet wird. Dabei arbeiten fast alle großen Formate für die Nachhaltigkeitsberichterstattung wesentlichkeitsorientiert, wie beispielsweise die international gültigen Richtlinien der </a:t>
            </a:r>
            <a:r>
              <a:rPr lang="de-DE" sz="1200" b="1" i="0" u="sng" kern="1200" dirty="0" smtClean="0">
                <a:solidFill>
                  <a:schemeClr val="tx1"/>
                </a:solidFill>
                <a:effectLst/>
                <a:latin typeface="+mn-lt"/>
                <a:ea typeface="+mn-ea"/>
                <a:cs typeface="+mn-cs"/>
                <a:hlinkClick r:id="rId3"/>
              </a:rPr>
              <a:t>GRI</a:t>
            </a:r>
            <a:r>
              <a:rPr lang="de-DE" sz="1200" b="1" i="0" kern="1200" dirty="0" smtClean="0">
                <a:solidFill>
                  <a:schemeClr val="tx1"/>
                </a:solidFill>
                <a:effectLst/>
                <a:latin typeface="+mn-lt"/>
                <a:ea typeface="+mn-ea"/>
                <a:cs typeface="+mn-cs"/>
              </a:rPr>
              <a:t> </a:t>
            </a:r>
            <a:r>
              <a:rPr lang="de-DE" sz="1200" b="0" i="0" kern="1200" dirty="0" smtClean="0">
                <a:solidFill>
                  <a:schemeClr val="tx1"/>
                </a:solidFill>
                <a:effectLst/>
                <a:latin typeface="+mn-lt"/>
                <a:ea typeface="+mn-ea"/>
                <a:cs typeface="+mn-cs"/>
              </a:rPr>
              <a:t>(Global Reporting Initiative). Allerdings empfehlen sie diese Form der Risikoanalyse aber nur. Allein die CSR-Richtlinie der EU macht mit ihrem Gesetzescharakter die Wesentlichkeitsanalyse auch zur Pflicht.</a:t>
            </a:r>
          </a:p>
          <a:p>
            <a:r>
              <a:rPr lang="de-DE" sz="1200" b="0" i="0" kern="1200" dirty="0" smtClean="0">
                <a:solidFill>
                  <a:schemeClr val="tx1"/>
                </a:solidFill>
                <a:effectLst/>
                <a:latin typeface="+mn-lt"/>
                <a:ea typeface="+mn-ea"/>
                <a:cs typeface="+mn-cs"/>
              </a:rPr>
              <a:t>Das Prinzip der Wesentlichkeit findet sich darüber hinaus in allen bekannten ISO-Managementsystemnormen, allerdings ohne die Begrifflichkeit zu verwenden. Für Unternehmen aller Größen und Branchen ist die Wesentlichkeitsanalyse damit eine unverzichtbare Methode, um wesentliche Themen (intern wie extern) sowie die damit verknüpften relevanten Anspruchsgruppen zu ermitteln und Handlungsfelder abzuleiten.</a:t>
            </a:r>
          </a:p>
          <a:p>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24</a:t>
            </a:fld>
            <a:endParaRPr lang="de-DE"/>
          </a:p>
        </p:txBody>
      </p:sp>
    </p:spTree>
    <p:extLst>
      <p:ext uri="{BB962C8B-B14F-4D97-AF65-F5344CB8AC3E}">
        <p14:creationId xmlns:p14="http://schemas.microsoft.com/office/powerpoint/2010/main" val="3255408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smtClean="0"/>
              <a:t>Konkret: z.B. faire Geschäftspraktiken, mitarbeiterorientierte Personalpolitik, den sparsamen Einsatz von natürlichen Ressourcen, den Schutz von Klima und Umwelt sowie ernst gemeintes Engagement vor Ort und Verantwortung auch in der Lieferkette.</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smtClean="0"/>
              <a:t>Dies umfasst soziale, ökologische und ökonomische Aspekte, wie sie etwa in international anerkannten Referenzdokumenten zur Unternehmens­verantwortung ausgeführt sind, insbesondere in der ILO-Grundsatzerklärung über Unternehmen und Sozialpolitik, den OECD-Leitsätzen für multinationale Unternehmen, den UN-Leitprinzipien für Wirtschaft und Menschenrechte, im UN Global Compact oder in der ISO 26000. </a:t>
            </a:r>
            <a:endParaRPr lang="de-DE" sz="80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00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CSR-Definition der </a:t>
            </a:r>
            <a:r>
              <a:rPr lang="en-US" sz="1200" dirty="0" err="1" smtClean="0"/>
              <a:t>Europäischen</a:t>
            </a:r>
            <a:r>
              <a:rPr lang="en-US" sz="1200" dirty="0" smtClean="0"/>
              <a:t> </a:t>
            </a:r>
            <a:r>
              <a:rPr lang="en-US" sz="1200" dirty="0" err="1" smtClean="0"/>
              <a:t>Kommission</a:t>
            </a:r>
            <a:r>
              <a:rPr lang="en-US" sz="1200" dirty="0" smtClean="0"/>
              <a:t> 2011 </a:t>
            </a:r>
            <a:r>
              <a:rPr lang="en-US" sz="1200" dirty="0" err="1" smtClean="0"/>
              <a:t>Eine</a:t>
            </a:r>
            <a:r>
              <a:rPr lang="en-US" sz="1200" dirty="0" smtClean="0"/>
              <a:t> </a:t>
            </a:r>
            <a:r>
              <a:rPr lang="en-US" sz="1200" dirty="0" err="1" smtClean="0"/>
              <a:t>begriffliche</a:t>
            </a:r>
            <a:r>
              <a:rPr lang="en-US" sz="1200" dirty="0" smtClean="0"/>
              <a:t> </a:t>
            </a:r>
            <a:r>
              <a:rPr lang="en-US" sz="1200" dirty="0" err="1" smtClean="0"/>
              <a:t>Weiterentwicklung</a:t>
            </a:r>
            <a:r>
              <a:rPr lang="en-US" sz="1200" dirty="0" smtClean="0"/>
              <a:t> der CSR-Definition </a:t>
            </a:r>
            <a:r>
              <a:rPr lang="en-US" sz="1200" dirty="0" err="1" smtClean="0"/>
              <a:t>findet</a:t>
            </a:r>
            <a:r>
              <a:rPr lang="en-US" sz="1200" dirty="0" smtClean="0"/>
              <a:t> </a:t>
            </a:r>
            <a:r>
              <a:rPr lang="en-US" sz="1200" dirty="0" err="1" smtClean="0"/>
              <a:t>sich</a:t>
            </a:r>
            <a:r>
              <a:rPr lang="en-US" sz="1200" dirty="0" smtClean="0"/>
              <a:t> in der </a:t>
            </a:r>
            <a:r>
              <a:rPr lang="en-US" sz="1200" dirty="0" err="1" smtClean="0"/>
              <a:t>jüngsten</a:t>
            </a:r>
            <a:r>
              <a:rPr lang="en-US" sz="1200" dirty="0" smtClean="0"/>
              <a:t> </a:t>
            </a:r>
            <a:r>
              <a:rPr lang="en-US" sz="1200" dirty="0" err="1" smtClean="0"/>
              <a:t>Mitteilung</a:t>
            </a:r>
            <a:r>
              <a:rPr lang="en-US" sz="1200" dirty="0" smtClean="0"/>
              <a:t> der </a:t>
            </a:r>
            <a:r>
              <a:rPr lang="en-US" sz="1200" dirty="0" err="1" smtClean="0"/>
              <a:t>Europäischen</a:t>
            </a:r>
            <a:r>
              <a:rPr lang="en-US" sz="1200" dirty="0" smtClean="0"/>
              <a:t> </a:t>
            </a:r>
            <a:r>
              <a:rPr lang="en-US" sz="1200" dirty="0" err="1" smtClean="0"/>
              <a:t>Kommission</a:t>
            </a:r>
            <a:r>
              <a:rPr lang="en-US" sz="1200" dirty="0" smtClean="0"/>
              <a:t>, </a:t>
            </a:r>
            <a:r>
              <a:rPr lang="en-US" sz="1200" dirty="0" err="1" smtClean="0"/>
              <a:t>welche</a:t>
            </a:r>
            <a:r>
              <a:rPr lang="en-US" sz="1200" dirty="0" smtClean="0"/>
              <a:t> </a:t>
            </a:r>
            <a:r>
              <a:rPr lang="en-US" sz="1200" dirty="0" err="1" smtClean="0"/>
              <a:t>im</a:t>
            </a:r>
            <a:r>
              <a:rPr lang="en-US" sz="1200" dirty="0" smtClean="0"/>
              <a:t> </a:t>
            </a:r>
            <a:r>
              <a:rPr lang="en-US" sz="1200" dirty="0" err="1" smtClean="0"/>
              <a:t>Oktober</a:t>
            </a:r>
            <a:r>
              <a:rPr lang="en-US" sz="1200" dirty="0" smtClean="0"/>
              <a:t> 2011 </a:t>
            </a:r>
            <a:r>
              <a:rPr lang="en-US" sz="1200" dirty="0" err="1" smtClean="0"/>
              <a:t>vorge</a:t>
            </a:r>
            <a:r>
              <a:rPr lang="en-US" sz="1200" dirty="0" smtClean="0"/>
              <a:t> </a:t>
            </a:r>
            <a:r>
              <a:rPr lang="en-US" sz="1200" dirty="0" err="1" smtClean="0"/>
              <a:t>stellt</a:t>
            </a:r>
            <a:r>
              <a:rPr lang="en-US" sz="1200" dirty="0" smtClean="0"/>
              <a:t> </a:t>
            </a:r>
            <a:r>
              <a:rPr lang="en-US" sz="1200" dirty="0" err="1" smtClean="0"/>
              <a:t>wurde</a:t>
            </a:r>
            <a:r>
              <a:rPr lang="en-US" sz="1200" dirty="0" smtClean="0"/>
              <a:t>. CSR </a:t>
            </a:r>
            <a:r>
              <a:rPr lang="en-US" sz="1200" dirty="0" err="1" smtClean="0"/>
              <a:t>aufgefasst</a:t>
            </a:r>
            <a:r>
              <a:rPr lang="en-US" sz="1200" dirty="0" smtClean="0"/>
              <a:t> </a:t>
            </a:r>
            <a:r>
              <a:rPr lang="en-US" sz="1200" dirty="0" err="1" smtClean="0"/>
              <a:t>als</a:t>
            </a:r>
            <a:r>
              <a:rPr lang="en-US" sz="1200" dirty="0" smtClean="0"/>
              <a:t> ‘responsibility of enterprises for their impacts on society’…. </a:t>
            </a:r>
            <a:r>
              <a:rPr lang="en-US" sz="1200" dirty="0" err="1" smtClean="0"/>
              <a:t>wird</a:t>
            </a:r>
            <a:r>
              <a:rPr lang="en-US" sz="1200" dirty="0" smtClean="0"/>
              <a:t> </a:t>
            </a:r>
            <a:r>
              <a:rPr lang="en-US" sz="1200" dirty="0" err="1" smtClean="0"/>
              <a:t>definiert</a:t>
            </a:r>
            <a:r>
              <a:rPr lang="en-US" sz="1200" dirty="0" smtClean="0"/>
              <a:t> </a:t>
            </a:r>
            <a:r>
              <a:rPr lang="en-US" sz="1200" dirty="0" err="1" smtClean="0"/>
              <a:t>als</a:t>
            </a:r>
            <a:r>
              <a:rPr lang="en-US" sz="1200" dirty="0" smtClean="0"/>
              <a:t> “process to integrate social, environmental, ethical and human rights concerns into their business operations and core strategy in close interaction with their stakeholders, with the aim of: • </a:t>
            </a:r>
            <a:r>
              <a:rPr lang="en-US" sz="1200" dirty="0" err="1" smtClean="0"/>
              <a:t>maximising</a:t>
            </a:r>
            <a:r>
              <a:rPr lang="en-US" sz="1200" dirty="0" smtClean="0"/>
              <a:t> the creation of shared value for their owners/shareholders and for their other stakeholders and society at large; • identifying, preventing and mitigating their possible adverse impacts.”23 “CSR at least covers human rights, </a:t>
            </a:r>
            <a:r>
              <a:rPr lang="en-US" sz="1200" dirty="0" err="1" smtClean="0"/>
              <a:t>labour</a:t>
            </a:r>
            <a:r>
              <a:rPr lang="en-US" sz="1200" dirty="0" smtClean="0"/>
              <a:t> and employment practices (such as training, diver </a:t>
            </a:r>
            <a:r>
              <a:rPr lang="en-US" sz="1200" dirty="0" err="1" smtClean="0"/>
              <a:t>sity</a:t>
            </a:r>
            <a:r>
              <a:rPr lang="en-US" sz="1200" dirty="0" smtClean="0"/>
              <a:t>, gender equality and employee health and well-being), environmental issues (such as biodiversity, climate change and pollution prevention), and combating bribery and corruption. Community involvement and development, the integration of disabled persons, and consumer interests, including privacy, and are also part of the CSR agenda. The promotion of social and environmental responsibility through the supply-chain, and the disclosure of non-financial information, are </a:t>
            </a:r>
            <a:r>
              <a:rPr lang="en-US" sz="1200" dirty="0" err="1" smtClean="0"/>
              <a:t>recognised</a:t>
            </a:r>
            <a:r>
              <a:rPr lang="en-US" sz="1200" dirty="0" smtClean="0"/>
              <a:t> as important cross-cutting issues.”</a:t>
            </a:r>
            <a:endParaRPr lang="de-DE" sz="1200" dirty="0" smtClean="0"/>
          </a:p>
          <a:p>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3</a:t>
            </a:fld>
            <a:endParaRPr lang="de-DE"/>
          </a:p>
        </p:txBody>
      </p:sp>
    </p:spTree>
    <p:extLst>
      <p:ext uri="{BB962C8B-B14F-4D97-AF65-F5344CB8AC3E}">
        <p14:creationId xmlns:p14="http://schemas.microsoft.com/office/powerpoint/2010/main" val="652538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Um eine vollständige Erklärung zum Deutschen Nachhaltigkeitskodex abzugeben, berichten Anwender über die 20 DNK-Kriterien und ein ausgewähltes Set an Indikatoren (GRI oder EFFAS)</a:t>
            </a:r>
          </a:p>
          <a:p>
            <a:endParaRPr lang="de-DE" sz="1200" b="0" i="0" kern="1200" dirty="0" smtClean="0">
              <a:solidFill>
                <a:schemeClr val="tx1"/>
              </a:solidFill>
              <a:effectLst/>
              <a:latin typeface="+mn-lt"/>
              <a:ea typeface="+mn-ea"/>
              <a:cs typeface="+mn-cs"/>
            </a:endParaRPr>
          </a:p>
          <a:p>
            <a:r>
              <a:rPr lang="de-DE" sz="1200" b="0" i="0" kern="1200" dirty="0" smtClean="0">
                <a:solidFill>
                  <a:schemeClr val="tx1"/>
                </a:solidFill>
                <a:effectLst/>
                <a:latin typeface="+mn-lt"/>
                <a:ea typeface="+mn-ea"/>
                <a:cs typeface="+mn-cs"/>
              </a:rPr>
              <a:t>Deutscher </a:t>
            </a:r>
            <a:r>
              <a:rPr lang="de-DE" sz="1200" b="0" i="0" kern="1200" dirty="0" smtClean="0">
                <a:solidFill>
                  <a:schemeClr val="tx1"/>
                </a:solidFill>
                <a:effectLst/>
                <a:latin typeface="+mn-lt"/>
                <a:ea typeface="+mn-ea"/>
                <a:cs typeface="+mn-cs"/>
              </a:rPr>
              <a:t>Nachhaltigkeitskodex (DNK)</a:t>
            </a:r>
          </a:p>
          <a:p>
            <a:r>
              <a:rPr lang="de-DE" sz="1200" b="0" i="0" kern="1200" dirty="0" smtClean="0">
                <a:solidFill>
                  <a:schemeClr val="tx1"/>
                </a:solidFill>
                <a:effectLst/>
                <a:latin typeface="+mn-lt"/>
                <a:ea typeface="+mn-ea"/>
                <a:cs typeface="+mn-cs"/>
              </a:rPr>
              <a:t>Der DNK unterstützt den Aufbau einer </a:t>
            </a:r>
            <a:r>
              <a:rPr lang="de-DE" sz="1200" b="0" i="0" u="none" strike="noStrike" kern="1200" dirty="0" smtClean="0">
                <a:solidFill>
                  <a:schemeClr val="tx1"/>
                </a:solidFill>
                <a:effectLst/>
                <a:latin typeface="+mn-lt"/>
                <a:ea typeface="+mn-ea"/>
                <a:cs typeface="+mn-cs"/>
                <a:hlinkClick r:id="rId3"/>
              </a:rPr>
              <a:t>Nachhaltigkeitsstrategie </a:t>
            </a:r>
            <a:r>
              <a:rPr lang="de-DE" sz="1200" b="0" i="0" kern="1200" dirty="0" smtClean="0">
                <a:solidFill>
                  <a:schemeClr val="tx1"/>
                </a:solidFill>
                <a:effectLst/>
                <a:latin typeface="+mn-lt"/>
                <a:ea typeface="+mn-ea"/>
                <a:cs typeface="+mn-cs"/>
              </a:rPr>
              <a:t>und bietet einen Einstieg in die Nachhaltigkeitsberichterstattung. Die regelmäßige Berichterstattung macht die Entwicklung des Unternehmens im Zeitverlauf sichtbar. Um den DNK zu erfüllen, erstellen Anwender in der Datenbank eine Erklärung zu zwanzig DNK-Kriterien und den ergänzenden nichtfinanziellen </a:t>
            </a:r>
            <a:r>
              <a:rPr lang="de-DE" sz="1200" b="0" i="0" u="none" strike="noStrike" kern="1200" dirty="0" smtClean="0">
                <a:solidFill>
                  <a:schemeClr val="tx1"/>
                </a:solidFill>
                <a:effectLst/>
                <a:latin typeface="+mn-lt"/>
                <a:ea typeface="+mn-ea"/>
                <a:cs typeface="+mn-cs"/>
                <a:hlinkClick r:id="rId4"/>
              </a:rPr>
              <a:t>Leistungsindikator</a:t>
            </a:r>
            <a:r>
              <a:rPr lang="de-DE" sz="1200" b="0" i="0" kern="1200" dirty="0" smtClean="0">
                <a:solidFill>
                  <a:schemeClr val="tx1"/>
                </a:solidFill>
                <a:effectLst/>
                <a:latin typeface="+mn-lt"/>
                <a:ea typeface="+mn-ea"/>
                <a:cs typeface="+mn-cs"/>
              </a:rPr>
              <a:t>en.</a:t>
            </a:r>
          </a:p>
          <a:p>
            <a:r>
              <a:rPr lang="de-DE" dirty="0" smtClean="0"/>
              <a:t>https://www.deutscher-nachhaltigkeitskodex.de/</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smtClean="0"/>
              <a:t>umfassenderes Verständnis für globale Zusammenhänge, denn Aufgaben wie Klimaschutz, Gerechtigkeit oder verantwortungsvoller und nachhaltiger Konsum können gerade auch in den Industrieländern nachhaltige Innovationen hervorbringen</a:t>
            </a:r>
            <a:r>
              <a:rPr lang="de-DE" dirty="0" smtClean="0"/>
              <a:t>.</a:t>
            </a:r>
          </a:p>
          <a:p>
            <a:endParaRPr lang="de-DE" dirty="0"/>
          </a:p>
        </p:txBody>
      </p:sp>
      <p:sp>
        <p:nvSpPr>
          <p:cNvPr id="4" name="Foliennummernplatzhalter 3"/>
          <p:cNvSpPr>
            <a:spLocks noGrp="1"/>
          </p:cNvSpPr>
          <p:nvPr>
            <p:ph type="sldNum" sz="quarter" idx="5"/>
          </p:nvPr>
        </p:nvSpPr>
        <p:spPr/>
        <p:txBody>
          <a:bodyPr/>
          <a:lstStyle/>
          <a:p>
            <a:fld id="{19D9EAF3-2EC2-4B9C-BAD2-9C334F71F6B1}" type="slidenum">
              <a:rPr lang="de-DE" smtClean="0"/>
              <a:pPr/>
              <a:t>5</a:t>
            </a:fld>
            <a:endParaRPr lang="de-DE"/>
          </a:p>
        </p:txBody>
      </p:sp>
    </p:spTree>
    <p:extLst>
      <p:ext uri="{BB962C8B-B14F-4D97-AF65-F5344CB8AC3E}">
        <p14:creationId xmlns:p14="http://schemas.microsoft.com/office/powerpoint/2010/main" val="4218763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7</a:t>
            </a:fld>
            <a:endParaRPr lang="de-DE"/>
          </a:p>
        </p:txBody>
      </p:sp>
    </p:spTree>
    <p:extLst>
      <p:ext uri="{BB962C8B-B14F-4D97-AF65-F5344CB8AC3E}">
        <p14:creationId xmlns:p14="http://schemas.microsoft.com/office/powerpoint/2010/main" val="4069374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smtClean="0">
                <a:solidFill>
                  <a:schemeClr val="tx1"/>
                </a:solidFill>
                <a:effectLst/>
                <a:latin typeface="+mn-lt"/>
                <a:ea typeface="+mn-ea"/>
                <a:cs typeface="+mn-cs"/>
              </a:rPr>
              <a:t>Zum CSR-Richtlinie-Umsetzungsgesetz (CSR-RUG):</a:t>
            </a:r>
          </a:p>
          <a:p>
            <a:r>
              <a:rPr lang="de-DE" sz="1200" b="0" i="0" kern="1200" dirty="0" smtClean="0">
                <a:solidFill>
                  <a:schemeClr val="tx1"/>
                </a:solidFill>
                <a:effectLst/>
                <a:latin typeface="+mn-lt"/>
                <a:ea typeface="+mn-ea"/>
                <a:cs typeface="+mn-cs"/>
              </a:rPr>
              <a:t>Auf Grundlage der europäischen Richtlinie 2014/95/EU am 09.03.2017 im Bundestag beschlossen (§ 289b ff HGB).</a:t>
            </a:r>
          </a:p>
          <a:p>
            <a:r>
              <a:rPr lang="de-DE" sz="1200" b="0" i="0" kern="1200" dirty="0" smtClean="0">
                <a:solidFill>
                  <a:schemeClr val="tx1"/>
                </a:solidFill>
                <a:effectLst/>
                <a:latin typeface="+mn-lt"/>
                <a:ea typeface="+mn-ea"/>
                <a:cs typeface="+mn-cs"/>
              </a:rPr>
              <a:t>Betrifft kapitalmarktorientierte Unternehmen, Finanzinstitute und Versicherungen mit mehr als 500 Mitarbeiterinnen und Mitarbeiter.</a:t>
            </a:r>
          </a:p>
          <a:p>
            <a:r>
              <a:rPr lang="de-DE" sz="1200" b="0" i="0" kern="1200" dirty="0" smtClean="0">
                <a:solidFill>
                  <a:schemeClr val="tx1"/>
                </a:solidFill>
                <a:effectLst/>
                <a:latin typeface="+mn-lt"/>
                <a:ea typeface="+mn-ea"/>
                <a:cs typeface="+mn-cs"/>
              </a:rPr>
              <a:t>Inhalt: Konzepte, Ergebnisse, </a:t>
            </a:r>
            <a:r>
              <a:rPr lang="de-DE" sz="1200" b="0" i="0" u="none" strike="noStrike" kern="1200" dirty="0" smtClean="0">
                <a:solidFill>
                  <a:schemeClr val="tx1"/>
                </a:solidFill>
                <a:effectLst/>
                <a:latin typeface="+mn-lt"/>
                <a:ea typeface="+mn-ea"/>
                <a:cs typeface="+mn-cs"/>
                <a:hlinkClick r:id="rId3"/>
              </a:rPr>
              <a:t>Risiken </a:t>
            </a:r>
            <a:r>
              <a:rPr lang="de-DE" sz="1200" b="0" i="0" kern="1200" dirty="0" smtClean="0">
                <a:solidFill>
                  <a:schemeClr val="tx1"/>
                </a:solidFill>
                <a:effectLst/>
                <a:latin typeface="+mn-lt"/>
                <a:ea typeface="+mn-ea"/>
                <a:cs typeface="+mn-cs"/>
              </a:rPr>
              <a:t>und wesentliche </a:t>
            </a:r>
            <a:r>
              <a:rPr lang="de-DE" sz="1200" b="0" i="0" u="none" strike="noStrike" kern="1200" dirty="0" smtClean="0">
                <a:solidFill>
                  <a:schemeClr val="tx1"/>
                </a:solidFill>
                <a:effectLst/>
                <a:latin typeface="+mn-lt"/>
                <a:ea typeface="+mn-ea"/>
                <a:cs typeface="+mn-cs"/>
                <a:hlinkClick r:id="rId4"/>
              </a:rPr>
              <a:t>Leistungsindikator</a:t>
            </a:r>
            <a:r>
              <a:rPr lang="de-DE" sz="1200" b="0" i="0" kern="1200" dirty="0" smtClean="0">
                <a:solidFill>
                  <a:schemeClr val="tx1"/>
                </a:solidFill>
                <a:effectLst/>
                <a:latin typeface="+mn-lt"/>
                <a:ea typeface="+mn-ea"/>
                <a:cs typeface="+mn-cs"/>
              </a:rPr>
              <a:t>en zu Umwelt-, Arbeitnehmer- und Sozialbelangen, zur Achtung der </a:t>
            </a:r>
            <a:r>
              <a:rPr lang="de-DE" sz="1200" b="0" i="0" u="none" strike="noStrike" kern="1200" dirty="0" smtClean="0">
                <a:solidFill>
                  <a:schemeClr val="tx1"/>
                </a:solidFill>
                <a:effectLst/>
                <a:latin typeface="+mn-lt"/>
                <a:ea typeface="+mn-ea"/>
                <a:cs typeface="+mn-cs"/>
                <a:hlinkClick r:id="rId5"/>
              </a:rPr>
              <a:t>Menschenrechte </a:t>
            </a:r>
            <a:r>
              <a:rPr lang="de-DE" sz="1200" b="0" i="0" kern="1200" dirty="0" smtClean="0">
                <a:solidFill>
                  <a:schemeClr val="tx1"/>
                </a:solidFill>
                <a:effectLst/>
                <a:latin typeface="+mn-lt"/>
                <a:ea typeface="+mn-ea"/>
                <a:cs typeface="+mn-cs"/>
              </a:rPr>
              <a:t>und zur Bekämpfung von </a:t>
            </a:r>
            <a:r>
              <a:rPr lang="de-DE" sz="1200" b="0" i="0" u="none" strike="noStrike" kern="1200" dirty="0" smtClean="0">
                <a:solidFill>
                  <a:schemeClr val="tx1"/>
                </a:solidFill>
                <a:effectLst/>
                <a:latin typeface="+mn-lt"/>
                <a:ea typeface="+mn-ea"/>
                <a:cs typeface="+mn-cs"/>
                <a:hlinkClick r:id="rId6"/>
              </a:rPr>
              <a:t>Korruption </a:t>
            </a:r>
            <a:r>
              <a:rPr lang="de-DE" sz="1200" b="0" i="0" kern="1200" dirty="0" smtClean="0">
                <a:solidFill>
                  <a:schemeClr val="tx1"/>
                </a:solidFill>
                <a:effectLst/>
                <a:latin typeface="+mn-lt"/>
                <a:ea typeface="+mn-ea"/>
                <a:cs typeface="+mn-cs"/>
              </a:rPr>
              <a:t>und Bestechung.</a:t>
            </a:r>
          </a:p>
          <a:p>
            <a:r>
              <a:rPr lang="de-DE" sz="1200" b="0" i="0" kern="1200" dirty="0" smtClean="0">
                <a:solidFill>
                  <a:schemeClr val="tx1"/>
                </a:solidFill>
                <a:effectLst/>
                <a:latin typeface="+mn-lt"/>
                <a:ea typeface="+mn-ea"/>
                <a:cs typeface="+mn-cs"/>
              </a:rPr>
              <a:t>Der DNK kann zur Erfüllung der Berichtspflicht genutzt werden. Das DNK-Büro prüft die Erklärung auf formale Vollständigkeit.</a:t>
            </a:r>
          </a:p>
          <a:p>
            <a:endParaRPr lang="de-DE" sz="1200" dirty="0" smtClean="0"/>
          </a:p>
          <a:p>
            <a:r>
              <a:rPr lang="de-DE" sz="1200" dirty="0" smtClean="0"/>
              <a:t>Nationale </a:t>
            </a:r>
            <a:r>
              <a:rPr lang="de-DE" sz="1200" dirty="0" smtClean="0"/>
              <a:t>CSR-Forum als ein Gremium, in dem verschiedenste gesellschaftliche Akteure sich gemeinsam dem Thema "Unternehmensverantwortung" widmen</a:t>
            </a:r>
          </a:p>
          <a:p>
            <a:r>
              <a:rPr lang="de-DE" sz="1200" dirty="0" smtClean="0"/>
              <a:t>Bundesregierung im Jahr 2010 den </a:t>
            </a:r>
            <a:r>
              <a:rPr lang="de-DE" sz="1200" dirty="0" smtClean="0">
                <a:hlinkClick r:id="rId7" tooltip="zur Seite der Bundesregierung mit dem Inhalt &quot;Nationale Strategie zur gesellschaftlichen Verantwortung von Unternehmen&quot;"/>
              </a:rPr>
              <a:t>Aktionsplan CSR</a:t>
            </a:r>
            <a:r>
              <a:rPr lang="de-DE" sz="1200" dirty="0" smtClean="0"/>
              <a:t> verabschiedet, der in den Folgejahren umgesetzt wurde und CSR in Deutschland weiter verbreitet hat.</a:t>
            </a:r>
          </a:p>
          <a:p>
            <a:r>
              <a:rPr lang="de-DE" sz="1200" dirty="0" smtClean="0"/>
              <a:t>Am 21. Dezember 2016 hat die Bundesregierung den Nationalen Aktionsplan Wirtschaft und Menschenrechte im Bundeskabinett verabschiedet. Im Aktionsplan verankert sie erstmals die Verantwortung von deutschen Unternehmen für die Achtung der Menschenrechte in einem festen Rahmen.</a:t>
            </a:r>
          </a:p>
          <a:p>
            <a:r>
              <a:rPr lang="de-DE" sz="1200" dirty="0" smtClean="0"/>
              <a:t>Das </a:t>
            </a:r>
            <a:r>
              <a:rPr lang="de-DE" sz="1200" dirty="0" smtClean="0">
                <a:hlinkClick r:id="rId8" tooltip="Lieferkettengesetz"/>
              </a:rPr>
              <a:t>Gesetz über die unternehmerischen Sorgfaltspflichten in Lieferketten</a:t>
            </a:r>
            <a:r>
              <a:rPr lang="de-DE" sz="1200" dirty="0" smtClean="0"/>
              <a:t> (Lieferkettensorgfaltspflichtengesetz, </a:t>
            </a:r>
            <a:r>
              <a:rPr lang="de-DE" sz="1200" dirty="0" err="1" smtClean="0"/>
              <a:t>LkSG</a:t>
            </a:r>
            <a:r>
              <a:rPr lang="de-DE" sz="1200" dirty="0" smtClean="0"/>
              <a:t>) wurde nach Abschluss des parlamentarischen Verfahrens am 22. Juli 2021 im Bundesgesetzblatt veröffentlicht. Damit wird die Verantwortung deutscher Unternehmen für die Achtung von Menschenrechten in globalen Lieferketten erstmals verbindlich geregelt.</a:t>
            </a:r>
          </a:p>
          <a:p>
            <a:endParaRPr lang="de-DE" dirty="0"/>
          </a:p>
        </p:txBody>
      </p:sp>
      <p:sp>
        <p:nvSpPr>
          <p:cNvPr id="4" name="Foliennummernplatzhalter 3"/>
          <p:cNvSpPr>
            <a:spLocks noGrp="1"/>
          </p:cNvSpPr>
          <p:nvPr>
            <p:ph type="sldNum" sz="quarter" idx="5"/>
          </p:nvPr>
        </p:nvSpPr>
        <p:spPr/>
        <p:txBody>
          <a:bodyPr/>
          <a:lstStyle/>
          <a:p>
            <a:pPr>
              <a:defRPr/>
            </a:pPr>
            <a:fld id="{B9DA9C44-BBE9-0849-9E1D-14EAEFFEBCFC}" type="slidenum">
              <a:rPr lang="de-DE" smtClean="0"/>
              <a:t>8</a:t>
            </a:fld>
            <a:endParaRPr lang="de-DE"/>
          </a:p>
        </p:txBody>
      </p:sp>
    </p:spTree>
    <p:extLst>
      <p:ext uri="{BB962C8B-B14F-4D97-AF65-F5344CB8AC3E}">
        <p14:creationId xmlns:p14="http://schemas.microsoft.com/office/powerpoint/2010/main" val="1952886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smtClean="0"/>
              <a:t>Das Lieferkettengesetz (</a:t>
            </a:r>
            <a:r>
              <a:rPr lang="de-DE" sz="1200" dirty="0" err="1" smtClean="0"/>
              <a:t>LkSG</a:t>
            </a:r>
            <a:r>
              <a:rPr lang="de-DE" sz="1200" dirty="0" smtClean="0"/>
              <a:t>) ist am 1. Januar 2023 in Kraft getre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smtClean="0"/>
              <a:t>Verbote von Kinderarbeit, Sklaverei und Zwangsarbeit, die Missachtung des Arbeits- und Gesundheitsschutzes, die Vorenthaltung eines angemessenen Lohns, die Missachtung des Rechts, Gewerkschaften bzw. Mitarbeitervertretungen zu bilden, die Verwehrung des Zugangs zu Nahrung und Wasser sowie der widerrechtliche Entzug von Land und Lebensgrundlagen, Verbot direkter Umweltschäden (Verschmutzu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kern="1200" dirty="0" smtClean="0">
                <a:solidFill>
                  <a:schemeClr val="tx1"/>
                </a:solidFill>
                <a:effectLst/>
                <a:latin typeface="+mn-lt"/>
                <a:ea typeface="+mn-ea"/>
                <a:cs typeface="+mn-cs"/>
              </a:rPr>
              <a:t>Das Lieferketten­sorgfaltspflichten­gesetz verpflichtet Unternehmen mit Hauptverwaltung, Hauptniederlassung, Verwaltungssitz, satzungsmäßigem Sitz oder Zweigniederlassung in Deutschland zur Achtung von Menschenrechten durch die Umsetzung definierter Sorgfaltspflich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kern="1200" dirty="0" smtClean="0">
                <a:solidFill>
                  <a:schemeClr val="tx1"/>
                </a:solidFill>
                <a:effectLst/>
                <a:latin typeface="+mn-lt"/>
                <a:ea typeface="+mn-ea"/>
                <a:cs typeface="+mn-cs"/>
              </a:rPr>
              <a:t>Zu den Kernelementen der Sorgfaltspflichten gehört die Einrichtung eines Risikomanagements, um die Risiken von Menschenrechts­verletzungen und Schädigungen der Umwelt zu identifizieren, zu vermeiden oder zu minimieren. Das Gesetz legt dar, welche Präventions- und Abhilfemaßahmen notwendig sind, verpflichtet zu Beschwerdeverfahren und regelmäßiger Berichterstattu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kern="1200" dirty="0" smtClean="0">
                <a:solidFill>
                  <a:schemeClr val="tx1"/>
                </a:solidFill>
                <a:effectLst/>
                <a:latin typeface="+mn-lt"/>
                <a:ea typeface="+mn-ea"/>
                <a:cs typeface="+mn-cs"/>
              </a:rPr>
              <a:t>Die Sorgfaltspflichten beziehen sich auf den eigenen Geschäftsbereich, auf das Handeln eines Vertragspartners und das Handeln weiterer (mittelbarer) Zulieferer. Damit endet die Verantwortung der Unternehmen nicht länger am eigenen Werkstor, sondern besteht entlang der gesamten Lieferk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kern="1200" dirty="0" smtClean="0">
                <a:solidFill>
                  <a:schemeClr val="tx1"/>
                </a:solidFill>
                <a:effectLst/>
                <a:latin typeface="+mn-lt"/>
                <a:ea typeface="+mn-ea"/>
                <a:cs typeface="+mn-cs"/>
              </a:rPr>
              <a:t>Das Lieferkettengesetz enthält einen abschließenden Katalog von elf international anerkannten Menschenrechtsübereinkommen. Aus den dort geschützten Rechtsgütern werden Verhaltensvorgaben </a:t>
            </a:r>
            <a:r>
              <a:rPr lang="de-DE" dirty="0" smtClean="0"/>
              <a:t>bzw.</a:t>
            </a:r>
            <a:r>
              <a:rPr lang="de-DE" sz="1200" b="0" i="0" kern="1200" dirty="0" smtClean="0">
                <a:solidFill>
                  <a:schemeClr val="tx1"/>
                </a:solidFill>
                <a:effectLst/>
                <a:latin typeface="+mn-lt"/>
                <a:ea typeface="+mn-ea"/>
                <a:cs typeface="+mn-cs"/>
              </a:rPr>
              <a:t> Verbote für unternehmerisches Handeln abgeleitet, um eine Verletzung geschützter Rechtspositionen zu verhindern. Dazu zählen insbesondere die Verbote von Kinderarbeit, Sklaverei und Zwangsarbeit, die Missachtung des Arbeits- und Gesundheitsschutzes, die Vorenthaltung eines angemessenen Lohns, die Missachtung des Rechts, Gewerkschaften </a:t>
            </a:r>
            <a:r>
              <a:rPr lang="de-DE" dirty="0" smtClean="0"/>
              <a:t>bzw.</a:t>
            </a:r>
            <a:r>
              <a:rPr lang="de-DE" sz="1200" b="0" i="0" kern="1200" dirty="0" smtClean="0">
                <a:solidFill>
                  <a:schemeClr val="tx1"/>
                </a:solidFill>
                <a:effectLst/>
                <a:latin typeface="+mn-lt"/>
                <a:ea typeface="+mn-ea"/>
                <a:cs typeface="+mn-cs"/>
              </a:rPr>
              <a:t> Mitarbeitervertretungen zu bilden, die Verwehrung des Zugangs zu Nahrung und Wasser sowie der widerrechtliche Entzug von Land und Lebensgrundla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kern="1200" dirty="0" smtClean="0">
                <a:solidFill>
                  <a:schemeClr val="tx1"/>
                </a:solidFill>
                <a:effectLst/>
                <a:latin typeface="+mn-lt"/>
                <a:ea typeface="+mn-ea"/>
                <a:cs typeface="+mn-cs"/>
              </a:rPr>
              <a:t>Kommen Unternehmen ihren gesetzlichen Pflichten nicht nach, können Bußgelder verhängt werden. Diese können bis zu 8 Millionen Euro oder bis zu 2 Prozent des weltweiten Jahresumsatzes betragen. Der umsatz­bezogene Bußgeldrahmen gilt nur für Unternehmen mit mehr als 400 Millionen Euro Jahresumsatz. Außerdem ist es bei einem verhängten Bußgeld ab einer bestimmten Mindesthöhe möglich, von der Vergabe öffentlicher Aufträge ausgeschlossen zu werd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kern="1200" dirty="0" smtClean="0">
                <a:solidFill>
                  <a:schemeClr val="tx1"/>
                </a:solidFill>
                <a:effectLst/>
                <a:latin typeface="+mn-lt"/>
                <a:ea typeface="+mn-ea"/>
                <a:cs typeface="+mn-cs"/>
              </a:rPr>
              <a:t>Um die Unternehmen bei der Umsetzung ihrer Sorgfaltspflichten zu unterstützen, entwickelt und veröffentlicht das BAFA Handreichungen. Die Handreichungen stellt das BAFA auf seiner eigenen Webseite zum Lieferkettengesetz unter </a:t>
            </a:r>
            <a:r>
              <a:rPr lang="de-DE" sz="1200" b="0" i="0" u="none" strike="noStrike" kern="1200" dirty="0" smtClean="0">
                <a:solidFill>
                  <a:schemeClr val="tx1"/>
                </a:solidFill>
                <a:effectLst/>
                <a:latin typeface="+mn-lt"/>
                <a:ea typeface="+mn-ea"/>
                <a:cs typeface="+mn-cs"/>
                <a:hlinkClick r:id="rId3" tooltip="zur Website des Bundesamtes für Wirtschaft und Ausfuhrkontrolle"/>
              </a:rPr>
              <a:t>www.bafa.de/lieferketten</a:t>
            </a:r>
            <a:r>
              <a:rPr lang="de-DE" sz="1200" b="0" i="0" kern="1200" dirty="0" smtClean="0">
                <a:solidFill>
                  <a:schemeClr val="tx1"/>
                </a:solidFill>
                <a:effectLst/>
                <a:latin typeface="+mn-lt"/>
                <a:ea typeface="+mn-ea"/>
                <a:cs typeface="+mn-cs"/>
              </a:rPr>
              <a:t> bere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dirty="0" smtClean="0">
              <a:solidFill>
                <a:schemeClr val="tx1"/>
              </a:solidFill>
              <a:effectLst/>
              <a:latin typeface="+mn-lt"/>
              <a:ea typeface="+mn-ea"/>
              <a:cs typeface="+mn-cs"/>
            </a:endParaRPr>
          </a:p>
          <a:p>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9</a:t>
            </a:fld>
            <a:endParaRPr lang="de-DE"/>
          </a:p>
        </p:txBody>
      </p:sp>
    </p:spTree>
    <p:extLst>
      <p:ext uri="{BB962C8B-B14F-4D97-AF65-F5344CB8AC3E}">
        <p14:creationId xmlns:p14="http://schemas.microsoft.com/office/powerpoint/2010/main" val="2810646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https://ec.europa.eu/commission/presscorner/detail/de/ip_22_1145</a:t>
            </a:r>
          </a:p>
          <a:p>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10</a:t>
            </a:fld>
            <a:endParaRPr lang="de-DE"/>
          </a:p>
        </p:txBody>
      </p:sp>
    </p:spTree>
    <p:extLst>
      <p:ext uri="{BB962C8B-B14F-4D97-AF65-F5344CB8AC3E}">
        <p14:creationId xmlns:p14="http://schemas.microsoft.com/office/powerpoint/2010/main" val="4029879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dirty="0" smtClean="0">
                <a:solidFill>
                  <a:schemeClr val="tx1"/>
                </a:solidFill>
                <a:effectLst/>
                <a:latin typeface="+mn-lt"/>
                <a:ea typeface="+mn-ea"/>
                <a:cs typeface="+mn-cs"/>
              </a:rPr>
              <a:t>Bestimmte Unternehmen von öffentlichem Interesse in der </a:t>
            </a:r>
            <a:r>
              <a:rPr lang="de-DE" dirty="0" smtClean="0"/>
              <a:t>EU</a:t>
            </a:r>
            <a:r>
              <a:rPr lang="de-DE" sz="1200" b="0" i="0" kern="1200" dirty="0" smtClean="0">
                <a:solidFill>
                  <a:schemeClr val="tx1"/>
                </a:solidFill>
                <a:effectLst/>
                <a:latin typeface="+mn-lt"/>
                <a:ea typeface="+mn-ea"/>
                <a:cs typeface="+mn-cs"/>
              </a:rPr>
              <a:t> müssen bereits seit einigen Jahren über ihre Nachhaltigkeit Bericht erstatten. Dies regelt die seit 2014 geltende </a:t>
            </a:r>
            <a:r>
              <a:rPr lang="de-DE" sz="1200" b="0" i="0" u="none" strike="noStrike" kern="1200" dirty="0" smtClean="0">
                <a:solidFill>
                  <a:schemeClr val="tx1"/>
                </a:solidFill>
                <a:effectLst/>
                <a:latin typeface="+mn-lt"/>
                <a:ea typeface="+mn-ea"/>
                <a:cs typeface="+mn-cs"/>
                <a:hlinkClick r:id="rId3" tooltip="zum Richtlinientext auf Consilium.Europa.eu"/>
              </a:rPr>
              <a:t>Non-Financial Reporting </a:t>
            </a:r>
            <a:r>
              <a:rPr lang="de-DE" sz="1200" b="0" i="0" u="none" strike="noStrike" kern="1200" dirty="0" err="1" smtClean="0">
                <a:solidFill>
                  <a:schemeClr val="tx1"/>
                </a:solidFill>
                <a:effectLst/>
                <a:latin typeface="+mn-lt"/>
                <a:ea typeface="+mn-ea"/>
                <a:cs typeface="+mn-cs"/>
                <a:hlinkClick r:id="rId3" tooltip="zum Richtlinientext auf Consilium.Europa.eu"/>
              </a:rPr>
              <a:t>Directive</a:t>
            </a:r>
            <a:r>
              <a:rPr lang="de-DE" sz="1200" b="0" i="0" u="none" strike="noStrike" kern="1200" dirty="0" smtClean="0">
                <a:solidFill>
                  <a:schemeClr val="tx1"/>
                </a:solidFill>
                <a:effectLst/>
                <a:latin typeface="+mn-lt"/>
                <a:ea typeface="+mn-ea"/>
                <a:cs typeface="+mn-cs"/>
                <a:hlinkClick r:id="rId3" tooltip="zum Richtlinientext auf Consilium.Europa.eu"/>
              </a:rPr>
              <a:t> (NFRD)</a:t>
            </a:r>
            <a:r>
              <a:rPr lang="de-DE" sz="1200" b="0" i="0" kern="1200" dirty="0" smtClean="0">
                <a:solidFill>
                  <a:schemeClr val="tx1"/>
                </a:solidFill>
                <a:effectLst/>
                <a:latin typeface="+mn-lt"/>
                <a:ea typeface="+mn-ea"/>
                <a:cs typeface="+mn-cs"/>
              </a:rPr>
              <a:t> . Auf diese Weise sollen Stakeholder den Beitrag der Unternehmen zur Nachhaltigkeit besser bewerten können.</a:t>
            </a:r>
          </a:p>
          <a:p>
            <a:endParaRPr lang="de-DE" sz="1200" b="0" i="0" kern="1200" dirty="0" smtClean="0">
              <a:solidFill>
                <a:schemeClr val="tx1"/>
              </a:solidFill>
              <a:effectLst/>
              <a:latin typeface="+mn-lt"/>
              <a:ea typeface="+mn-ea"/>
              <a:cs typeface="+mn-cs"/>
            </a:endParaRPr>
          </a:p>
          <a:p>
            <a:r>
              <a:rPr lang="de-DE" sz="1200" b="0" i="0" kern="1200" dirty="0" smtClean="0">
                <a:solidFill>
                  <a:schemeClr val="tx1"/>
                </a:solidFill>
                <a:effectLst/>
                <a:latin typeface="+mn-lt"/>
                <a:ea typeface="+mn-ea"/>
                <a:cs typeface="+mn-cs"/>
              </a:rPr>
              <a:t>Die CSRD soll bestehende Lücken bei den Berichtsvorschriften schließen und die Nachhaltigkeitsberichterstattung insgesamt ausweiten. Ziel ist es, die Rechenschaftspflicht europäischer Unternehmen über Nachhaltigkeitsaspekte zu erhöhen und erstmals verbindliche Berichtsstandards auf Ebene der EU einzuführen.</a:t>
            </a:r>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11</a:t>
            </a:fld>
            <a:endParaRPr lang="de-DE"/>
          </a:p>
        </p:txBody>
      </p:sp>
    </p:spTree>
    <p:extLst>
      <p:ext uri="{BB962C8B-B14F-4D97-AF65-F5344CB8AC3E}">
        <p14:creationId xmlns:p14="http://schemas.microsoft.com/office/powerpoint/2010/main" val="1467460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i="0" kern="1200" dirty="0" smtClean="0">
                <a:solidFill>
                  <a:schemeClr val="tx1"/>
                </a:solidFill>
                <a:effectLst/>
                <a:latin typeface="+mn-lt"/>
                <a:ea typeface="+mn-ea"/>
                <a:cs typeface="+mn-cs"/>
              </a:rPr>
              <a:t>Externe Prüfung:</a:t>
            </a:r>
            <a:r>
              <a:rPr lang="de-DE" sz="1200" b="0" i="0" kern="1200" dirty="0" smtClean="0">
                <a:solidFill>
                  <a:schemeClr val="tx1"/>
                </a:solidFill>
                <a:effectLst/>
                <a:latin typeface="+mn-lt"/>
                <a:ea typeface="+mn-ea"/>
                <a:cs typeface="+mn-cs"/>
              </a:rPr>
              <a:t> Die Nachhaltigkeitsberichterstattung muss künftig ebenso wie die Finanzberichterstattung extern geprüft werden. Hierfür legt die EU-Kommission Prüfstandards fest. Darüber hinaus soll die Prüfungstiefe schrittweise erweitert werden: In einem ersten Schritt ist eine Prüfung mit begrenzter Sicherheit ("limited </a:t>
            </a:r>
            <a:r>
              <a:rPr lang="de-DE" sz="1200" b="0" i="0" kern="1200" dirty="0" err="1" smtClean="0">
                <a:solidFill>
                  <a:schemeClr val="tx1"/>
                </a:solidFill>
                <a:effectLst/>
                <a:latin typeface="+mn-lt"/>
                <a:ea typeface="+mn-ea"/>
                <a:cs typeface="+mn-cs"/>
              </a:rPr>
              <a:t>assurance</a:t>
            </a:r>
            <a:r>
              <a:rPr lang="de-DE" sz="1200" b="0" i="0" kern="1200" dirty="0" smtClean="0">
                <a:solidFill>
                  <a:schemeClr val="tx1"/>
                </a:solidFill>
                <a:effectLst/>
                <a:latin typeface="+mn-lt"/>
                <a:ea typeface="+mn-ea"/>
                <a:cs typeface="+mn-cs"/>
              </a:rPr>
              <a:t>") vorgesehen. Danach wird eine Prüfung mit hinreichender Sicherheit ("</a:t>
            </a:r>
            <a:r>
              <a:rPr lang="de-DE" sz="1200" b="0" i="0" kern="1200" dirty="0" err="1" smtClean="0">
                <a:solidFill>
                  <a:schemeClr val="tx1"/>
                </a:solidFill>
                <a:effectLst/>
                <a:latin typeface="+mn-lt"/>
                <a:ea typeface="+mn-ea"/>
                <a:cs typeface="+mn-cs"/>
              </a:rPr>
              <a:t>reasonable</a:t>
            </a:r>
            <a:r>
              <a:rPr lang="de-DE" sz="1200" b="0" i="0" kern="1200" dirty="0" smtClean="0">
                <a:solidFill>
                  <a:schemeClr val="tx1"/>
                </a:solidFill>
                <a:effectLst/>
                <a:latin typeface="+mn-lt"/>
                <a:ea typeface="+mn-ea"/>
                <a:cs typeface="+mn-cs"/>
              </a:rPr>
              <a:t> </a:t>
            </a:r>
            <a:r>
              <a:rPr lang="de-DE" sz="1200" b="0" i="0" kern="1200" dirty="0" err="1" smtClean="0">
                <a:solidFill>
                  <a:schemeClr val="tx1"/>
                </a:solidFill>
                <a:effectLst/>
                <a:latin typeface="+mn-lt"/>
                <a:ea typeface="+mn-ea"/>
                <a:cs typeface="+mn-cs"/>
              </a:rPr>
              <a:t>assurance</a:t>
            </a:r>
            <a:r>
              <a:rPr lang="de-DE" sz="1200" b="0" i="0" kern="1200" dirty="0" smtClean="0">
                <a:solidFill>
                  <a:schemeClr val="tx1"/>
                </a:solidFill>
                <a:effectLst/>
                <a:latin typeface="+mn-lt"/>
                <a:ea typeface="+mn-ea"/>
                <a:cs typeface="+mn-cs"/>
              </a:rPr>
              <a:t>") verlangt, was der Prüfungstiefe im Rahmen der Finanzberichterstattung entspricht.</a:t>
            </a:r>
          </a:p>
          <a:p>
            <a:r>
              <a:rPr lang="de-DE" dirty="0" smtClean="0"/>
              <a:t/>
            </a:r>
            <a:br>
              <a:rPr lang="de-DE" dirty="0" smtClean="0"/>
            </a:br>
            <a:r>
              <a:rPr lang="de-DE" sz="1200" b="1" i="0" kern="1200" dirty="0" smtClean="0">
                <a:solidFill>
                  <a:schemeClr val="tx1"/>
                </a:solidFill>
                <a:effectLst/>
                <a:latin typeface="+mn-lt"/>
                <a:ea typeface="+mn-ea"/>
                <a:cs typeface="+mn-cs"/>
              </a:rPr>
              <a:t>Teil des Lageberichts:</a:t>
            </a:r>
            <a:r>
              <a:rPr lang="de-DE" sz="1200" b="0" i="0" kern="1200" dirty="0" smtClean="0">
                <a:solidFill>
                  <a:schemeClr val="tx1"/>
                </a:solidFill>
                <a:effectLst/>
                <a:latin typeface="+mn-lt"/>
                <a:ea typeface="+mn-ea"/>
                <a:cs typeface="+mn-cs"/>
              </a:rPr>
              <a:t> Um den Zugang zu Nachhaltigkeitsinformationen zu erleichtern, sollen diese künftig verpflichtender Teil des Lageberichts sein. Das zeigt den hohen Stellenwert der Nachhaltigkeitsberichterstattung, die sukzessive denselben Stellenwert wie die klassische finanzielle Berichterstattung erhalten soll.</a:t>
            </a:r>
          </a:p>
          <a:p>
            <a:r>
              <a:rPr lang="de-DE" sz="1200" b="1" i="0" kern="1200" dirty="0" smtClean="0">
                <a:solidFill>
                  <a:schemeClr val="tx1"/>
                </a:solidFill>
                <a:effectLst/>
                <a:latin typeface="+mn-lt"/>
                <a:ea typeface="+mn-ea"/>
                <a:cs typeface="+mn-cs"/>
              </a:rPr>
              <a:t>Einheitliches elektronisches Berichtsformat:</a:t>
            </a:r>
            <a:r>
              <a:rPr lang="de-DE" sz="1200" b="0" i="0" kern="1200" dirty="0" smtClean="0">
                <a:solidFill>
                  <a:schemeClr val="tx1"/>
                </a:solidFill>
                <a:effectLst/>
                <a:latin typeface="+mn-lt"/>
                <a:ea typeface="+mn-ea"/>
                <a:cs typeface="+mn-cs"/>
              </a:rPr>
              <a:t> Seit dem 1. Januar 2020 sind bestimmte kapitalmarktorientierte Unternehmen verpflichtet, ihre Rechnungslegungsunterlagen in dem sog. European Single Electronic Format (ESEF) offenzulegen, das für Mensch und Maschine gleichermaßen lesbar ist. Hierbei werden Konzernabschlüsse in XHTML-Format mit sogenannten XBRL-Tags gekennzeichnet. Im Rahmen der CSRD soll diese Anforderung auf die Nachhaltigkeitsberichterstattung ausgeweitet werden. Dazu plant die Europäische Kommission die Veröffentlichung einer eigenen XBRL-Taxonomie.</a:t>
            </a:r>
          </a:p>
          <a:p>
            <a:endParaRPr lang="de-DE" dirty="0"/>
          </a:p>
        </p:txBody>
      </p:sp>
      <p:sp>
        <p:nvSpPr>
          <p:cNvPr id="4" name="Foliennummernplatzhalter 3"/>
          <p:cNvSpPr>
            <a:spLocks noGrp="1"/>
          </p:cNvSpPr>
          <p:nvPr>
            <p:ph type="sldNum" sz="quarter" idx="10"/>
          </p:nvPr>
        </p:nvSpPr>
        <p:spPr/>
        <p:txBody>
          <a:bodyPr/>
          <a:lstStyle/>
          <a:p>
            <a:fld id="{452DC52F-B66A-9846-A889-F07026C1BDEC}" type="slidenum">
              <a:rPr lang="de-DE" smtClean="0"/>
              <a:t>12</a:t>
            </a:fld>
            <a:endParaRPr lang="de-DE"/>
          </a:p>
        </p:txBody>
      </p:sp>
    </p:spTree>
    <p:extLst>
      <p:ext uri="{BB962C8B-B14F-4D97-AF65-F5344CB8AC3E}">
        <p14:creationId xmlns:p14="http://schemas.microsoft.com/office/powerpoint/2010/main" val="1349199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vmlDrawing" Target="../drawings/vmlDrawing1.vml"/><Relationship Id="rId4" Type="http://schemas.openxmlformats.org/officeDocument/2006/relationships/image" Target="NUL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E80A4887-8438-5D44-BE2B-434936618464}"/>
              </a:ext>
            </a:extLst>
          </p:cNvPr>
          <p:cNvSpPr/>
          <p:nvPr userDrawn="1"/>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itelplatzhalter 9">
            <a:extLst>
              <a:ext uri="{FF2B5EF4-FFF2-40B4-BE49-F238E27FC236}">
                <a16:creationId xmlns:a16="http://schemas.microsoft.com/office/drawing/2014/main" id="{3D6E7045-7592-4647-AA65-91F5E7C1C426}"/>
              </a:ext>
            </a:extLst>
          </p:cNvPr>
          <p:cNvSpPr>
            <a:spLocks noGrp="1"/>
          </p:cNvSpPr>
          <p:nvPr>
            <p:ph type="title" hasCustomPrompt="1"/>
          </p:nvPr>
        </p:nvSpPr>
        <p:spPr>
          <a:xfrm>
            <a:off x="516827" y="2065867"/>
            <a:ext cx="11158345" cy="1619113"/>
          </a:xfrm>
          <a:prstGeom prst="rect">
            <a:avLst/>
          </a:prstGeom>
        </p:spPr>
        <p:txBody>
          <a:bodyPr vert="horz" lIns="91440" tIns="45720" rIns="91440" bIns="45720" rtlCol="0" anchor="b" anchorCtr="0">
            <a:noAutofit/>
          </a:bodyPr>
          <a:lstStyle>
            <a:lvl1pPr algn="ctr">
              <a:defRPr sz="5000" b="1">
                <a:solidFill>
                  <a:schemeClr val="bg2"/>
                </a:solidFill>
              </a:defRPr>
            </a:lvl1pPr>
          </a:lstStyle>
          <a:p>
            <a:r>
              <a:rPr lang="de-DE" dirty="0"/>
              <a:t>Titel der Präsentation</a:t>
            </a:r>
          </a:p>
        </p:txBody>
      </p:sp>
      <p:sp>
        <p:nvSpPr>
          <p:cNvPr id="11" name="Textplatzhalter 18">
            <a:extLst>
              <a:ext uri="{FF2B5EF4-FFF2-40B4-BE49-F238E27FC236}">
                <a16:creationId xmlns:a16="http://schemas.microsoft.com/office/drawing/2014/main" id="{60F97E68-3519-E14F-BD59-D43143F8FC9F}"/>
              </a:ext>
            </a:extLst>
          </p:cNvPr>
          <p:cNvSpPr>
            <a:spLocks noGrp="1"/>
          </p:cNvSpPr>
          <p:nvPr>
            <p:ph type="body" sz="quarter" idx="11" hasCustomPrompt="1"/>
          </p:nvPr>
        </p:nvSpPr>
        <p:spPr>
          <a:xfrm>
            <a:off x="516827" y="3751204"/>
            <a:ext cx="11158345" cy="1157127"/>
          </a:xfrm>
          <a:prstGeom prst="rect">
            <a:avLst/>
          </a:prstGeom>
        </p:spPr>
        <p:txBody>
          <a:bodyPr/>
          <a:lstStyle>
            <a:lvl1pPr marL="0" indent="0" algn="ctr">
              <a:lnSpc>
                <a:spcPct val="100000"/>
              </a:lnSpc>
              <a:spcBef>
                <a:spcPts val="0"/>
              </a:spcBef>
              <a:buFontTx/>
              <a:buNone/>
              <a:defRPr sz="2400">
                <a:solidFill>
                  <a:schemeClr val="bg2"/>
                </a:solidFill>
              </a:defRPr>
            </a:lvl1pPr>
          </a:lstStyle>
          <a:p>
            <a:pPr lvl="0"/>
            <a:r>
              <a:rPr lang="de-DE"/>
              <a:t>Untertitel bearbeiten
</a:t>
            </a:r>
          </a:p>
        </p:txBody>
      </p:sp>
      <p:pic>
        <p:nvPicPr>
          <p:cNvPr id="12" name="Grafik 11">
            <a:extLst>
              <a:ext uri="{FF2B5EF4-FFF2-40B4-BE49-F238E27FC236}">
                <a16:creationId xmlns:a16="http://schemas.microsoft.com/office/drawing/2014/main" id="{510334B3-33B0-D947-8A34-F4B2ECB1B208}"/>
              </a:ext>
            </a:extLst>
          </p:cNvPr>
          <p:cNvPicPr>
            <a:picLocks noChangeAspect="1"/>
          </p:cNvPicPr>
          <p:nvPr userDrawn="1"/>
        </p:nvPicPr>
        <p:blipFill>
          <a:blip r:embed="rId2"/>
          <a:stretch>
            <a:fillRect/>
          </a:stretch>
        </p:blipFill>
        <p:spPr>
          <a:xfrm>
            <a:off x="254673" y="216592"/>
            <a:ext cx="2543472" cy="989443"/>
          </a:xfrm>
          <a:prstGeom prst="rect">
            <a:avLst/>
          </a:prstGeom>
        </p:spPr>
      </p:pic>
    </p:spTree>
    <p:extLst>
      <p:ext uri="{BB962C8B-B14F-4D97-AF65-F5344CB8AC3E}">
        <p14:creationId xmlns:p14="http://schemas.microsoft.com/office/powerpoint/2010/main" val="2650958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amp; 3 Kolumnen 2">
    <p:spTree>
      <p:nvGrpSpPr>
        <p:cNvPr id="1" name=""/>
        <p:cNvGrpSpPr/>
        <p:nvPr/>
      </p:nvGrpSpPr>
      <p:grpSpPr>
        <a:xfrm>
          <a:off x="0" y="0"/>
          <a:ext cx="0" cy="0"/>
          <a:chOff x="0" y="0"/>
          <a:chExt cx="0" cy="0"/>
        </a:xfrm>
      </p:grpSpPr>
      <p:sp>
        <p:nvSpPr>
          <p:cNvPr id="10" name="Inhaltsplatzhalter 2">
            <a:extLst>
              <a:ext uri="{FF2B5EF4-FFF2-40B4-BE49-F238E27FC236}">
                <a16:creationId xmlns:a16="http://schemas.microsoft.com/office/drawing/2014/main" id="{6150D3FD-79A2-7B46-9DE9-7453A41FBA88}"/>
              </a:ext>
            </a:extLst>
          </p:cNvPr>
          <p:cNvSpPr>
            <a:spLocks noGrp="1"/>
          </p:cNvSpPr>
          <p:nvPr>
            <p:ph sz="half" idx="13" hasCustomPrompt="1"/>
          </p:nvPr>
        </p:nvSpPr>
        <p:spPr>
          <a:xfrm>
            <a:off x="518919" y="2318178"/>
            <a:ext cx="3613738" cy="2968526"/>
          </a:xfrm>
        </p:spPr>
        <p:txBody>
          <a:bodyPr/>
          <a:lstStyle>
            <a:lvl1pPr>
              <a:defRPr sz="1400">
                <a:solidFill>
                  <a:schemeClr val="tx1"/>
                </a:solidFill>
              </a:defRPr>
            </a:lvl1pPr>
          </a:lstStyle>
          <a:p>
            <a:pPr lvl="0"/>
            <a:r>
              <a:rPr lang="de-DE" dirty="0"/>
              <a:t>Text hinzufügen</a:t>
            </a:r>
          </a:p>
        </p:txBody>
      </p:sp>
      <p:sp>
        <p:nvSpPr>
          <p:cNvPr id="28" name="Inhaltsplatzhalter 2">
            <a:extLst>
              <a:ext uri="{FF2B5EF4-FFF2-40B4-BE49-F238E27FC236}">
                <a16:creationId xmlns:a16="http://schemas.microsoft.com/office/drawing/2014/main" id="{8E9AB75B-83A1-994D-9FBC-A5B2BFABB746}"/>
              </a:ext>
            </a:extLst>
          </p:cNvPr>
          <p:cNvSpPr>
            <a:spLocks noGrp="1"/>
          </p:cNvSpPr>
          <p:nvPr>
            <p:ph sz="half" idx="19" hasCustomPrompt="1"/>
          </p:nvPr>
        </p:nvSpPr>
        <p:spPr>
          <a:xfrm>
            <a:off x="8059343" y="2318178"/>
            <a:ext cx="3613738" cy="2968526"/>
          </a:xfrm>
        </p:spPr>
        <p:txBody>
          <a:bodyPr/>
          <a:lstStyle>
            <a:lvl1pPr>
              <a:defRPr sz="1400">
                <a:solidFill>
                  <a:schemeClr val="tx1"/>
                </a:solidFill>
              </a:defRPr>
            </a:lvl1pPr>
          </a:lstStyle>
          <a:p>
            <a:pPr lvl="0"/>
            <a:r>
              <a:rPr lang="de-DE" dirty="0"/>
              <a:t>Text hinzufügen</a:t>
            </a:r>
          </a:p>
        </p:txBody>
      </p:sp>
      <p:sp>
        <p:nvSpPr>
          <p:cNvPr id="13" name="Inhaltsplatzhalter 2">
            <a:extLst>
              <a:ext uri="{FF2B5EF4-FFF2-40B4-BE49-F238E27FC236}">
                <a16:creationId xmlns:a16="http://schemas.microsoft.com/office/drawing/2014/main" id="{74A9B998-D2C6-874C-B378-B126DB458DAD}"/>
              </a:ext>
            </a:extLst>
          </p:cNvPr>
          <p:cNvSpPr>
            <a:spLocks noGrp="1"/>
          </p:cNvSpPr>
          <p:nvPr>
            <p:ph sz="half" idx="20" hasCustomPrompt="1"/>
          </p:nvPr>
        </p:nvSpPr>
        <p:spPr>
          <a:xfrm>
            <a:off x="4289131" y="2318178"/>
            <a:ext cx="3613738" cy="2968526"/>
          </a:xfrm>
        </p:spPr>
        <p:txBody>
          <a:bodyPr/>
          <a:lstStyle>
            <a:lvl1pPr>
              <a:defRPr sz="1400">
                <a:solidFill>
                  <a:schemeClr val="tx1"/>
                </a:solidFill>
              </a:defRPr>
            </a:lvl1pPr>
          </a:lstStyle>
          <a:p>
            <a:pPr lvl="0"/>
            <a:r>
              <a:rPr lang="de-DE" dirty="0"/>
              <a:t>Text hinzufügen</a:t>
            </a:r>
          </a:p>
        </p:txBody>
      </p:sp>
      <p:sp>
        <p:nvSpPr>
          <p:cNvPr id="12" name="Fußzeilenplatzhalter 5">
            <a:extLst>
              <a:ext uri="{FF2B5EF4-FFF2-40B4-BE49-F238E27FC236}">
                <a16:creationId xmlns:a16="http://schemas.microsoft.com/office/drawing/2014/main" id="{59ACCCC4-D0F2-AC42-AECE-4D5FDE1613EB}"/>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15" name="Foliennummernplatzhalter 6">
            <a:extLst>
              <a:ext uri="{FF2B5EF4-FFF2-40B4-BE49-F238E27FC236}">
                <a16:creationId xmlns:a16="http://schemas.microsoft.com/office/drawing/2014/main" id="{48429532-B020-8F4F-BC6B-2D18E30FC07D}"/>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16" name="Date Placeholder 3">
            <a:extLst>
              <a:ext uri="{FF2B5EF4-FFF2-40B4-BE49-F238E27FC236}">
                <a16:creationId xmlns:a16="http://schemas.microsoft.com/office/drawing/2014/main" id="{01929663-4F7F-C34C-8269-36507A829C9D}"/>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
        <p:nvSpPr>
          <p:cNvPr id="17" name="Titelplatzhalter 9">
            <a:extLst>
              <a:ext uri="{FF2B5EF4-FFF2-40B4-BE49-F238E27FC236}">
                <a16:creationId xmlns:a16="http://schemas.microsoft.com/office/drawing/2014/main" id="{BF52CD45-02F0-5247-9EE5-ABB8B1C480D3}"/>
              </a:ext>
            </a:extLst>
          </p:cNvPr>
          <p:cNvSpPr>
            <a:spLocks noGrp="1"/>
          </p:cNvSpPr>
          <p:nvPr>
            <p:ph type="title" hasCustomPrompt="1"/>
          </p:nvPr>
        </p:nvSpPr>
        <p:spPr>
          <a:xfrm>
            <a:off x="516829" y="1244606"/>
            <a:ext cx="11158342" cy="465764"/>
          </a:xfrm>
          <a:prstGeom prst="rect">
            <a:avLst/>
          </a:prstGeom>
        </p:spPr>
        <p:txBody>
          <a:bodyPr vert="horz" lIns="91440" tIns="45720" rIns="91440" bIns="45720" rtlCol="0" anchor="t" anchorCtr="0">
            <a:noAutofit/>
          </a:bodyPr>
          <a:lstStyle>
            <a:lvl1pPr>
              <a:defRPr sz="3200">
                <a:solidFill>
                  <a:schemeClr val="tx1"/>
                </a:solidFill>
              </a:defRPr>
            </a:lvl1pPr>
          </a:lstStyle>
          <a:p>
            <a:r>
              <a:rPr lang="de-DE" dirty="0"/>
              <a:t>Titel hinzufügen</a:t>
            </a:r>
          </a:p>
        </p:txBody>
      </p:sp>
      <p:sp>
        <p:nvSpPr>
          <p:cNvPr id="18" name="Textplatzhalter 18">
            <a:extLst>
              <a:ext uri="{FF2B5EF4-FFF2-40B4-BE49-F238E27FC236}">
                <a16:creationId xmlns:a16="http://schemas.microsoft.com/office/drawing/2014/main" id="{CE008E0A-1FBB-B149-B303-240B8548C11A}"/>
              </a:ext>
            </a:extLst>
          </p:cNvPr>
          <p:cNvSpPr>
            <a:spLocks noGrp="1"/>
          </p:cNvSpPr>
          <p:nvPr>
            <p:ph type="body" sz="quarter" idx="11" hasCustomPrompt="1"/>
          </p:nvPr>
        </p:nvSpPr>
        <p:spPr>
          <a:xfrm>
            <a:off x="516828" y="1732216"/>
            <a:ext cx="11158343" cy="465764"/>
          </a:xfrm>
        </p:spPr>
        <p:txBody>
          <a:bodyPr wrap="square"/>
          <a:lstStyle>
            <a:lvl1pPr marL="0" marR="0" indent="0" algn="l" defTabSz="914400" rtl="0" eaLnBrk="1" fontAlgn="auto" latinLnBrk="0" hangingPunct="1">
              <a:lnSpc>
                <a:spcPct val="100000"/>
              </a:lnSpc>
              <a:spcBef>
                <a:spcPts val="0"/>
              </a:spcBef>
              <a:spcAft>
                <a:spcPts val="0"/>
              </a:spcAft>
              <a:buClr>
                <a:schemeClr val="tx2"/>
              </a:buClr>
              <a:buSzTx/>
              <a:buFontTx/>
              <a:buNone/>
              <a:tabLst/>
              <a:defRPr sz="2200">
                <a:solidFill>
                  <a:schemeClr val="tx1"/>
                </a:solidFill>
              </a:defRPr>
            </a:lvl1pPr>
          </a:lstStyle>
          <a:p>
            <a:pPr lvl="0"/>
            <a:r>
              <a:rPr lang="de-DE"/>
              <a:t>Untertitel hinzufügen</a:t>
            </a:r>
          </a:p>
        </p:txBody>
      </p:sp>
    </p:spTree>
    <p:extLst>
      <p:ext uri="{BB962C8B-B14F-4D97-AF65-F5344CB8AC3E}">
        <p14:creationId xmlns:p14="http://schemas.microsoft.com/office/powerpoint/2010/main" val="290840771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o">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A0CCAF60-A9CE-514F-8BBA-28384C68ECCE}"/>
              </a:ext>
            </a:extLst>
          </p:cNvPr>
          <p:cNvSpPr>
            <a:spLocks noGrp="1"/>
          </p:cNvSpPr>
          <p:nvPr>
            <p:ph type="pic" sz="quarter" idx="10" hasCustomPrompt="1"/>
          </p:nvPr>
        </p:nvSpPr>
        <p:spPr>
          <a:xfrm>
            <a:off x="0" y="0"/>
            <a:ext cx="12192000" cy="6858000"/>
          </a:xfrm>
        </p:spPr>
        <p:txBody>
          <a:bodyPr/>
          <a:lstStyle>
            <a:lvl1pPr marL="0" indent="0">
              <a:buFontTx/>
              <a:buNone/>
              <a:defRPr sz="1400"/>
            </a:lvl1pPr>
          </a:lstStyle>
          <a:p>
            <a:r>
              <a:rPr lang="de-DE"/>
              <a:t>Ganzseitiges Bild einfügen</a:t>
            </a:r>
          </a:p>
        </p:txBody>
      </p:sp>
      <p:sp>
        <p:nvSpPr>
          <p:cNvPr id="7" name="Fußzeilenplatzhalter 5">
            <a:extLst>
              <a:ext uri="{FF2B5EF4-FFF2-40B4-BE49-F238E27FC236}">
                <a16:creationId xmlns:a16="http://schemas.microsoft.com/office/drawing/2014/main" id="{2B9926D3-5772-204B-BFC9-07B89DCD53A8}"/>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8" name="Foliennummernplatzhalter 6">
            <a:extLst>
              <a:ext uri="{FF2B5EF4-FFF2-40B4-BE49-F238E27FC236}">
                <a16:creationId xmlns:a16="http://schemas.microsoft.com/office/drawing/2014/main" id="{0ED62935-E1A4-B744-8CCF-4352DC93C675}"/>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9" name="Date Placeholder 3">
            <a:extLst>
              <a:ext uri="{FF2B5EF4-FFF2-40B4-BE49-F238E27FC236}">
                <a16:creationId xmlns:a16="http://schemas.microsoft.com/office/drawing/2014/main" id="{5E76F8BE-9B48-1343-B694-7869F82879D9}"/>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Tree>
    <p:extLst>
      <p:ext uri="{BB962C8B-B14F-4D97-AF65-F5344CB8AC3E}">
        <p14:creationId xmlns:p14="http://schemas.microsoft.com/office/powerpoint/2010/main" val="2995604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 Out 1">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08D102AB-1F17-E14A-A642-F0325540AC17}"/>
              </a:ext>
            </a:extLst>
          </p:cNvPr>
          <p:cNvPicPr>
            <a:picLocks noChangeAspect="1"/>
          </p:cNvPicPr>
          <p:nvPr userDrawn="1"/>
        </p:nvPicPr>
        <p:blipFill>
          <a:blip r:embed="rId2"/>
          <a:srcRect/>
          <a:stretch/>
        </p:blipFill>
        <p:spPr>
          <a:xfrm>
            <a:off x="0" y="859"/>
            <a:ext cx="12191996" cy="6857140"/>
          </a:xfrm>
          <a:prstGeom prst="rect">
            <a:avLst/>
          </a:prstGeom>
        </p:spPr>
      </p:pic>
      <p:sp>
        <p:nvSpPr>
          <p:cNvPr id="6" name="Textplatzhalter 3">
            <a:extLst>
              <a:ext uri="{FF2B5EF4-FFF2-40B4-BE49-F238E27FC236}">
                <a16:creationId xmlns:a16="http://schemas.microsoft.com/office/drawing/2014/main" id="{E92881DC-33CE-6B48-9B7E-61B757E9D203}"/>
              </a:ext>
            </a:extLst>
          </p:cNvPr>
          <p:cNvSpPr>
            <a:spLocks noGrp="1"/>
          </p:cNvSpPr>
          <p:nvPr>
            <p:ph type="body" sz="quarter" idx="10" hasCustomPrompt="1"/>
          </p:nvPr>
        </p:nvSpPr>
        <p:spPr>
          <a:xfrm>
            <a:off x="2059105" y="2041261"/>
            <a:ext cx="8073786" cy="2775478"/>
          </a:xfrm>
          <a:prstGeom prst="rect">
            <a:avLst/>
          </a:prstGeom>
        </p:spPr>
        <p:txBody>
          <a:bodyPr anchor="ctr" anchorCtr="0"/>
          <a:lstStyle>
            <a:lvl1pPr marL="0" indent="0" algn="ctr">
              <a:buClr>
                <a:schemeClr val="bg1"/>
              </a:buClr>
              <a:buFontTx/>
              <a:buNone/>
              <a:defRPr sz="3400" b="1">
                <a:solidFill>
                  <a:schemeClr val="bg1"/>
                </a:solidFill>
              </a:defRPr>
            </a:lvl1pPr>
            <a:lvl2pPr marL="457200" indent="0">
              <a:buNone/>
              <a:defRPr/>
            </a:lvl2pPr>
          </a:lstStyle>
          <a:p>
            <a:pPr algn="ctr"/>
            <a:r>
              <a:rPr lang="de-DE" sz="3600" dirty="0"/>
              <a:t>In Flächen wie dieser könnten ein kurzer Satz, eine Kernaussage oder sonstige Botschaften stehen.</a:t>
            </a:r>
          </a:p>
        </p:txBody>
      </p:sp>
      <p:pic>
        <p:nvPicPr>
          <p:cNvPr id="13" name="Grafik 12">
            <a:extLst>
              <a:ext uri="{FF2B5EF4-FFF2-40B4-BE49-F238E27FC236}">
                <a16:creationId xmlns:a16="http://schemas.microsoft.com/office/drawing/2014/main" id="{9183957F-C2EA-AD45-9B84-B6A2569ABA2D}"/>
              </a:ext>
            </a:extLst>
          </p:cNvPr>
          <p:cNvPicPr>
            <a:picLocks noChangeAspect="1"/>
          </p:cNvPicPr>
          <p:nvPr userDrawn="1"/>
        </p:nvPicPr>
        <p:blipFill>
          <a:blip r:embed="rId3"/>
          <a:stretch>
            <a:fillRect/>
          </a:stretch>
        </p:blipFill>
        <p:spPr>
          <a:xfrm>
            <a:off x="254673" y="216592"/>
            <a:ext cx="2543472" cy="989443"/>
          </a:xfrm>
          <a:prstGeom prst="rect">
            <a:avLst/>
          </a:prstGeom>
        </p:spPr>
      </p:pic>
    </p:spTree>
    <p:extLst>
      <p:ext uri="{BB962C8B-B14F-4D97-AF65-F5344CB8AC3E}">
        <p14:creationId xmlns:p14="http://schemas.microsoft.com/office/powerpoint/2010/main" val="8267832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ll Out 2">
    <p:spTree>
      <p:nvGrpSpPr>
        <p:cNvPr id="1" name=""/>
        <p:cNvGrpSpPr/>
        <p:nvPr/>
      </p:nvGrpSpPr>
      <p:grpSpPr>
        <a:xfrm>
          <a:off x="0" y="0"/>
          <a:ext cx="0" cy="0"/>
          <a:chOff x="0" y="0"/>
          <a:chExt cx="0" cy="0"/>
        </a:xfrm>
      </p:grpSpPr>
      <p:sp>
        <p:nvSpPr>
          <p:cNvPr id="6" name="Textplatzhalter 3">
            <a:extLst>
              <a:ext uri="{FF2B5EF4-FFF2-40B4-BE49-F238E27FC236}">
                <a16:creationId xmlns:a16="http://schemas.microsoft.com/office/drawing/2014/main" id="{9E067C94-0CD3-2944-A63F-B79D06EEDC25}"/>
              </a:ext>
            </a:extLst>
          </p:cNvPr>
          <p:cNvSpPr>
            <a:spLocks noGrp="1"/>
          </p:cNvSpPr>
          <p:nvPr>
            <p:ph type="body" sz="quarter" idx="10" hasCustomPrompt="1"/>
          </p:nvPr>
        </p:nvSpPr>
        <p:spPr>
          <a:xfrm>
            <a:off x="2059107" y="2008186"/>
            <a:ext cx="8073786" cy="2841625"/>
          </a:xfrm>
          <a:prstGeom prst="rect">
            <a:avLst/>
          </a:prstGeom>
        </p:spPr>
        <p:txBody>
          <a:bodyPr anchor="ctr" anchorCtr="0"/>
          <a:lstStyle>
            <a:lvl1pPr marL="0" indent="0" algn="ctr">
              <a:buClr>
                <a:schemeClr val="bg1"/>
              </a:buClr>
              <a:buFontTx/>
              <a:buNone/>
              <a:defRPr sz="3400" b="1">
                <a:solidFill>
                  <a:schemeClr val="accent1"/>
                </a:solidFill>
              </a:defRPr>
            </a:lvl1pPr>
            <a:lvl2pPr marL="457200" indent="0">
              <a:buNone/>
              <a:defRPr/>
            </a:lvl2pPr>
          </a:lstStyle>
          <a:p>
            <a:pPr algn="ctr"/>
            <a:r>
              <a:rPr lang="de-DE" sz="3600" dirty="0"/>
              <a:t>In Flächen wie dieser könnten ein kurzer Satz, eine Kernaussage oder sonstige Botschaften stehen.</a:t>
            </a:r>
          </a:p>
        </p:txBody>
      </p:sp>
      <p:sp>
        <p:nvSpPr>
          <p:cNvPr id="7" name="Fußzeilenplatzhalter 5">
            <a:extLst>
              <a:ext uri="{FF2B5EF4-FFF2-40B4-BE49-F238E27FC236}">
                <a16:creationId xmlns:a16="http://schemas.microsoft.com/office/drawing/2014/main" id="{91647D35-0EF4-7A48-95CA-DA6E13AB339F}"/>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8" name="Foliennummernplatzhalter 6">
            <a:extLst>
              <a:ext uri="{FF2B5EF4-FFF2-40B4-BE49-F238E27FC236}">
                <a16:creationId xmlns:a16="http://schemas.microsoft.com/office/drawing/2014/main" id="{03B3472A-3945-6447-B48C-011BDC567061}"/>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9" name="Date Placeholder 3">
            <a:extLst>
              <a:ext uri="{FF2B5EF4-FFF2-40B4-BE49-F238E27FC236}">
                <a16:creationId xmlns:a16="http://schemas.microsoft.com/office/drawing/2014/main" id="{A001D20D-5047-0A45-A800-20111D5F95A7}"/>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Tree>
    <p:extLst>
      <p:ext uri="{BB962C8B-B14F-4D97-AF65-F5344CB8AC3E}">
        <p14:creationId xmlns:p14="http://schemas.microsoft.com/office/powerpoint/2010/main" val="3363310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76188" y="1196753"/>
            <a:ext cx="11439624" cy="607027"/>
          </a:xfrm>
          <a:prstGeom prst="rect">
            <a:avLst/>
          </a:prstGeom>
        </p:spPr>
        <p:txBody>
          <a:bodyPr lIns="91438" tIns="45719" rIns="91438" bIns="45719"/>
          <a:lstStyle>
            <a:lvl1pPr>
              <a:defRPr sz="3000" spc="0">
                <a:solidFill>
                  <a:schemeClr val="accent1"/>
                </a:solidFill>
                <a:latin typeface="+mj-lt"/>
              </a:defRPr>
            </a:lvl1pPr>
          </a:lstStyle>
          <a:p>
            <a:r>
              <a:rPr lang="de-DE"/>
              <a:t>Titelmasterformat durch Klicken bearbeiten</a:t>
            </a:r>
          </a:p>
        </p:txBody>
      </p:sp>
      <p:sp>
        <p:nvSpPr>
          <p:cNvPr id="8" name="Foliennummernplatzhalter 7"/>
          <p:cNvSpPr>
            <a:spLocks noGrp="1"/>
          </p:cNvSpPr>
          <p:nvPr>
            <p:ph type="sldNum" sz="quarter" idx="11"/>
          </p:nvPr>
        </p:nvSpPr>
        <p:spPr/>
        <p:txBody>
          <a:bodyPr/>
          <a:lstStyle/>
          <a:p>
            <a:fld id="{EB0F84F6-6AB3-4BC3-9BFD-A71B563E72FD}" type="slidenum">
              <a:rPr lang="de-DE" smtClean="0"/>
              <a:pPr/>
              <a:t>‹Nr.›</a:t>
            </a:fld>
            <a:endParaRPr lang="de-DE"/>
          </a:p>
        </p:txBody>
      </p:sp>
      <p:sp>
        <p:nvSpPr>
          <p:cNvPr id="12" name="Textplatzhalter 11"/>
          <p:cNvSpPr>
            <a:spLocks noGrp="1"/>
          </p:cNvSpPr>
          <p:nvPr>
            <p:ph type="body" sz="quarter" idx="12"/>
          </p:nvPr>
        </p:nvSpPr>
        <p:spPr>
          <a:xfrm>
            <a:off x="407368" y="1844824"/>
            <a:ext cx="11376645" cy="4321026"/>
          </a:xfrm>
          <a:prstGeom prst="rect">
            <a:avLst/>
          </a:prstGeom>
        </p:spPr>
        <p:txBody>
          <a:bodyPr/>
          <a:lstStyle>
            <a:lvl1pPr marL="0" indent="0">
              <a:spcBef>
                <a:spcPts val="0"/>
              </a:spcBef>
              <a:buClr>
                <a:schemeClr val="tx2"/>
              </a:buClr>
              <a:buFont typeface="Calibri" panose="020F0502020204030204" pitchFamily="34" charset="0"/>
              <a:buNone/>
              <a:defRPr sz="1800">
                <a:solidFill>
                  <a:schemeClr val="tx1"/>
                </a:solidFill>
              </a:defRPr>
            </a:lvl1pPr>
            <a:lvl2pPr marL="540000" indent="-180000">
              <a:spcBef>
                <a:spcPts val="0"/>
              </a:spcBef>
              <a:buClr>
                <a:schemeClr val="tx2"/>
              </a:buClr>
              <a:buFont typeface="Calibri" panose="020F0502020204030204" pitchFamily="34" charset="0"/>
              <a:buChar char="▪"/>
              <a:defRPr sz="1800">
                <a:solidFill>
                  <a:schemeClr val="tx1"/>
                </a:solidFill>
                <a:latin typeface="+mn-lt"/>
              </a:defRPr>
            </a:lvl2pPr>
            <a:lvl3pPr marL="900000" indent="-180000">
              <a:spcBef>
                <a:spcPts val="0"/>
              </a:spcBef>
              <a:buClr>
                <a:schemeClr val="tx2"/>
              </a:buClr>
              <a:buFont typeface="Calibri" panose="020F0502020204030204" pitchFamily="34" charset="0"/>
              <a:buChar char="▪"/>
              <a:defRPr sz="1800">
                <a:solidFill>
                  <a:schemeClr val="tx1"/>
                </a:solidFill>
                <a:latin typeface="+mn-lt"/>
              </a:defRPr>
            </a:lvl3pPr>
            <a:lvl4pPr marL="1260000" indent="-180000">
              <a:spcBef>
                <a:spcPts val="0"/>
              </a:spcBef>
              <a:buClr>
                <a:schemeClr val="tx2"/>
              </a:buClr>
              <a:buFont typeface="Calibri" panose="020F0502020204030204" pitchFamily="34" charset="0"/>
              <a:buChar char="▪"/>
              <a:defRPr sz="1800">
                <a:solidFill>
                  <a:schemeClr val="tx1"/>
                </a:solidFill>
                <a:latin typeface="+mn-lt"/>
              </a:defRPr>
            </a:lvl4pPr>
            <a:lvl5pPr marL="1620000" indent="-180000">
              <a:spcBef>
                <a:spcPts val="0"/>
              </a:spcBef>
              <a:buClr>
                <a:schemeClr val="tx2"/>
              </a:buClr>
              <a:buFont typeface="Calibri" panose="020F0502020204030204" pitchFamily="34" charset="0"/>
              <a:buChar char="▪"/>
              <a:defRPr sz="1800">
                <a:solidFill>
                  <a:schemeClr val="tx1"/>
                </a:solidFill>
                <a:latin typeface="+mn-l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04342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userDrawn="1">
  <p:cSld name="3_Aufzählun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072" name="think-cell Folie" r:id="rId3" imgW="0" imgH="0" progId="TCLayout.ActiveDocument.1">
                  <p:embed/>
                </p:oleObj>
              </mc:Choice>
              <mc:Fallback>
                <p:oleObj name="think-cell Folie" r:id="rId3" imgW="0" imgH="0" progId="TCLayout.ActiveDocument.1">
                  <p:embed/>
                  <p:pic>
                    <p:nvPicPr>
                      <p:cNvPr id="2" name="Objekt 1"/>
                      <p:cNvPicPr/>
                      <p:nvPr/>
                    </p:nvPicPr>
                    <p:blipFill>
                      <a:blip r:embed="rId4"/>
                      <a:stretch/>
                    </p:blipFill>
                    <p:spPr bwMode="auto">
                      <a:xfrm>
                        <a:off x="1587" y="1587"/>
                        <a:ext cx="1587" cy="1587"/>
                      </a:xfrm>
                      <a:prstGeom prst="rect">
                        <a:avLst/>
                      </a:prstGeom>
                    </p:spPr>
                  </p:pic>
                </p:oleObj>
              </mc:Fallback>
            </mc:AlternateContent>
          </a:graphicData>
        </a:graphic>
      </p:graphicFrame>
      <p:sp>
        <p:nvSpPr>
          <p:cNvPr id="22" name="Textplatzhalter 21"/>
          <p:cNvSpPr>
            <a:spLocks noGrp="1"/>
          </p:cNvSpPr>
          <p:nvPr>
            <p:ph type="body" sz="quarter" idx="17" hasCustomPrompt="1"/>
          </p:nvPr>
        </p:nvSpPr>
        <p:spPr bwMode="auto">
          <a:xfrm>
            <a:off x="1163638" y="5880467"/>
            <a:ext cx="10693400" cy="212357"/>
          </a:xfrm>
          <a:prstGeom prst="rect">
            <a:avLst/>
          </a:prstGeom>
        </p:spPr>
        <p:txBody>
          <a:bodyPr lIns="0" tIns="36000" bIns="36000" anchor="ctr"/>
          <a:lstStyle>
            <a:lvl1pPr marL="0" indent="0">
              <a:buNone/>
              <a:defRPr sz="800">
                <a:solidFill>
                  <a:srgbClr val="000000"/>
                </a:solidFill>
                <a:latin typeface="Roboto Slab"/>
                <a:ea typeface="Roboto Slab"/>
              </a:defRPr>
            </a:lvl1pPr>
            <a:lvl2pPr marL="457200" indent="0">
              <a:buNone/>
              <a:defRPr>
                <a:solidFill>
                  <a:sysClr val="windowText" lastClr="000000"/>
                </a:solidFill>
                <a:latin typeface="Roboto Slab"/>
                <a:ea typeface="Roboto Slab"/>
              </a:defRPr>
            </a:lvl2pPr>
            <a:lvl3pPr marL="914400" indent="0">
              <a:buNone/>
              <a:defRPr>
                <a:solidFill>
                  <a:sysClr val="windowText" lastClr="000000"/>
                </a:solidFill>
                <a:latin typeface="Roboto Slab"/>
                <a:ea typeface="Roboto Slab"/>
              </a:defRPr>
            </a:lvl3pPr>
            <a:lvl4pPr marL="1371600" indent="0">
              <a:buNone/>
              <a:defRPr>
                <a:solidFill>
                  <a:sysClr val="windowText" lastClr="000000"/>
                </a:solidFill>
                <a:latin typeface="Roboto Slab"/>
                <a:ea typeface="Roboto Slab"/>
              </a:defRPr>
            </a:lvl4pPr>
            <a:lvl5pPr marL="1828800" indent="0">
              <a:buNone/>
              <a:defRPr>
                <a:solidFill>
                  <a:sysClr val="windowText" lastClr="000000"/>
                </a:solidFill>
                <a:latin typeface="Roboto Slab"/>
                <a:ea typeface="Roboto Slab"/>
              </a:defRPr>
            </a:lvl5pPr>
          </a:lstStyle>
          <a:p>
            <a:pPr lvl="0">
              <a:defRPr/>
            </a:pPr>
            <a:r>
              <a:rPr lang="de-DE"/>
              <a:t>Quellen / Verweise</a:t>
            </a:r>
            <a:endParaRPr/>
          </a:p>
        </p:txBody>
      </p:sp>
      <p:sp>
        <p:nvSpPr>
          <p:cNvPr id="3" name="Textplatzhalter 2"/>
          <p:cNvSpPr>
            <a:spLocks noGrp="1"/>
          </p:cNvSpPr>
          <p:nvPr>
            <p:ph type="body" sz="quarter" idx="18"/>
          </p:nvPr>
        </p:nvSpPr>
        <p:spPr bwMode="auto">
          <a:xfrm>
            <a:off x="1165037" y="1773238"/>
            <a:ext cx="10689926" cy="4107230"/>
          </a:xfrm>
          <a:prstGeom prst="rect">
            <a:avLst/>
          </a:prstGeom>
        </p:spPr>
        <p:txBody>
          <a:bodyPr lIns="0" tIns="0" bIns="0"/>
          <a:lstStyle>
            <a:lvl1pPr>
              <a:buClr>
                <a:schemeClr val="accent5"/>
              </a:buClr>
              <a:defRPr sz="1800">
                <a:solidFill>
                  <a:srgbClr val="000000"/>
                </a:solidFill>
                <a:latin typeface="Roboto Slab Light"/>
                <a:ea typeface="Roboto Slab Light"/>
              </a:defRPr>
            </a:lvl1pPr>
            <a:lvl2pPr marL="685800" indent="-228600">
              <a:buClr>
                <a:schemeClr val="accent5"/>
              </a:buClr>
              <a:buFont typeface="Symbol"/>
              <a:buChar char="-"/>
              <a:defRPr sz="1600">
                <a:solidFill>
                  <a:srgbClr val="000000"/>
                </a:solidFill>
                <a:latin typeface="Roboto Slab Light"/>
                <a:ea typeface="Roboto Slab Light"/>
              </a:defRPr>
            </a:lvl2pPr>
            <a:lvl3pPr>
              <a:buClr>
                <a:schemeClr val="bg2"/>
              </a:buClr>
              <a:defRPr sz="1600">
                <a:solidFill>
                  <a:srgbClr val="000000"/>
                </a:solidFill>
                <a:latin typeface="Roboto Slab Light"/>
                <a:ea typeface="Roboto Slab Light"/>
              </a:defRPr>
            </a:lvl3pPr>
            <a:lvl4pPr marL="1371600" indent="0">
              <a:buClr>
                <a:schemeClr val="bg2"/>
              </a:buClr>
              <a:buNone/>
              <a:defRPr sz="1600">
                <a:solidFill>
                  <a:srgbClr val="000000"/>
                </a:solidFill>
                <a:latin typeface="Roboto Slab Light"/>
                <a:ea typeface="Roboto Slab Light"/>
              </a:defRPr>
            </a:lvl4pPr>
            <a:lvl5pPr>
              <a:defRPr sz="1400">
                <a:solidFill>
                  <a:srgbClr val="000000"/>
                </a:solidFill>
                <a:latin typeface="Roboto Slab"/>
                <a:ea typeface="Roboto Slab"/>
              </a:defRPr>
            </a:lvl5pPr>
          </a:lstStyle>
          <a:p>
            <a:pPr lvl="0">
              <a:defRPr/>
            </a:pPr>
            <a:r>
              <a:rPr lang="de-DE"/>
              <a:t>Formatvorlagen des Textmasters bearbeiten</a:t>
            </a:r>
            <a:endParaRPr/>
          </a:p>
          <a:p>
            <a:pPr lvl="1">
              <a:defRPr/>
            </a:pPr>
            <a:r>
              <a:rPr lang="de-DE"/>
              <a:t>Zweite Ebene bearbeiten</a:t>
            </a:r>
            <a:endParaRPr/>
          </a:p>
        </p:txBody>
      </p:sp>
      <p:sp>
        <p:nvSpPr>
          <p:cNvPr id="13" name="Textplatzhalter 4"/>
          <p:cNvSpPr>
            <a:spLocks noGrp="1"/>
          </p:cNvSpPr>
          <p:nvPr>
            <p:ph type="body" sz="quarter" idx="14" hasCustomPrompt="1"/>
          </p:nvPr>
        </p:nvSpPr>
        <p:spPr bwMode="auto">
          <a:xfrm>
            <a:off x="1165037" y="-1"/>
            <a:ext cx="9066083" cy="1089677"/>
          </a:xfrm>
          <a:prstGeom prst="rect">
            <a:avLst/>
          </a:prstGeom>
        </p:spPr>
        <p:txBody>
          <a:bodyPr lIns="0" anchor="b"/>
          <a:lstStyle>
            <a:lvl1pPr marL="0" indent="0">
              <a:buNone/>
              <a:defRPr b="0" i="0">
                <a:solidFill>
                  <a:schemeClr val="accent5"/>
                </a:solidFill>
                <a:latin typeface="Exo 2"/>
              </a:defRPr>
            </a:lvl1pPr>
          </a:lstStyle>
          <a:p>
            <a:pPr>
              <a:defRPr/>
            </a:pPr>
            <a:r>
              <a:rPr lang="de-DE" sz="2800"/>
              <a:t>HIER STEHT DER TITEL DER PRÄSENTATION</a:t>
            </a:r>
            <a:endParaRPr/>
          </a:p>
        </p:txBody>
      </p:sp>
      <p:sp>
        <p:nvSpPr>
          <p:cNvPr id="14" name="Titel 16"/>
          <p:cNvSpPr>
            <a:spLocks noGrp="1"/>
          </p:cNvSpPr>
          <p:nvPr>
            <p:ph type="title" hasCustomPrompt="1"/>
          </p:nvPr>
        </p:nvSpPr>
        <p:spPr bwMode="auto">
          <a:xfrm>
            <a:off x="1165038" y="1089678"/>
            <a:ext cx="9066082" cy="241301"/>
          </a:xfrm>
          <a:prstGeom prst="rect">
            <a:avLst/>
          </a:prstGeom>
        </p:spPr>
        <p:txBody>
          <a:bodyPr lIns="18000" tIns="0"/>
          <a:lstStyle>
            <a:lvl1pPr>
              <a:defRPr sz="1800" b="0">
                <a:solidFill>
                  <a:schemeClr val="bg2"/>
                </a:solidFill>
                <a:latin typeface="Exo 2"/>
                <a:ea typeface="Roboto Slab"/>
              </a:defRPr>
            </a:lvl1pPr>
          </a:lstStyle>
          <a:p>
            <a:pPr>
              <a:defRPr/>
            </a:pPr>
            <a:r>
              <a:rPr lang="de-DE"/>
              <a:t>Hier steht der Untertitel der Präsentation</a:t>
            </a:r>
            <a:endParaRPr/>
          </a:p>
        </p:txBody>
      </p:sp>
    </p:spTree>
    <p:extLst>
      <p:ext uri="{BB962C8B-B14F-4D97-AF65-F5344CB8AC3E}">
        <p14:creationId xmlns:p14="http://schemas.microsoft.com/office/powerpoint/2010/main" val="32783971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bschlussfolie 1">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9ADBA609-3553-A543-92AB-1153C446DCD1}"/>
              </a:ext>
            </a:extLst>
          </p:cNvPr>
          <p:cNvPicPr>
            <a:picLocks noChangeAspect="1"/>
          </p:cNvPicPr>
          <p:nvPr userDrawn="1"/>
        </p:nvPicPr>
        <p:blipFill>
          <a:blip r:embed="rId2"/>
          <a:srcRect/>
          <a:stretch/>
        </p:blipFill>
        <p:spPr>
          <a:xfrm>
            <a:off x="2" y="859"/>
            <a:ext cx="12191996" cy="6857140"/>
          </a:xfrm>
          <a:prstGeom prst="rect">
            <a:avLst/>
          </a:prstGeom>
        </p:spPr>
      </p:pic>
      <p:sp>
        <p:nvSpPr>
          <p:cNvPr id="2" name="Titel 1">
            <a:extLst>
              <a:ext uri="{FF2B5EF4-FFF2-40B4-BE49-F238E27FC236}">
                <a16:creationId xmlns:a16="http://schemas.microsoft.com/office/drawing/2014/main" id="{F803ECDC-88CC-9842-A185-9AC8F6ED7FB2}"/>
              </a:ext>
            </a:extLst>
          </p:cNvPr>
          <p:cNvSpPr>
            <a:spLocks noGrp="1"/>
          </p:cNvSpPr>
          <p:nvPr>
            <p:ph type="ctrTitle" hasCustomPrompt="1"/>
          </p:nvPr>
        </p:nvSpPr>
        <p:spPr>
          <a:xfrm>
            <a:off x="516828" y="2082800"/>
            <a:ext cx="11158344" cy="1602653"/>
          </a:xfrm>
          <a:prstGeom prst="rect">
            <a:avLst/>
          </a:prstGeom>
        </p:spPr>
        <p:txBody>
          <a:bodyPr anchor="b"/>
          <a:lstStyle>
            <a:lvl1pPr algn="ctr">
              <a:defRPr sz="5000" b="1">
                <a:solidFill>
                  <a:schemeClr val="bg2"/>
                </a:solidFill>
              </a:defRPr>
            </a:lvl1pPr>
          </a:lstStyle>
          <a:p>
            <a:r>
              <a:rPr lang="de-DE" dirty="0"/>
              <a:t>VIELEN DANK</a:t>
            </a:r>
          </a:p>
        </p:txBody>
      </p:sp>
      <p:sp>
        <p:nvSpPr>
          <p:cNvPr id="3" name="Untertitel 2">
            <a:extLst>
              <a:ext uri="{FF2B5EF4-FFF2-40B4-BE49-F238E27FC236}">
                <a16:creationId xmlns:a16="http://schemas.microsoft.com/office/drawing/2014/main" id="{9E2F722E-A206-384A-B529-23AD110B4E16}"/>
              </a:ext>
            </a:extLst>
          </p:cNvPr>
          <p:cNvSpPr>
            <a:spLocks noGrp="1"/>
          </p:cNvSpPr>
          <p:nvPr>
            <p:ph type="subTitle" idx="1" hasCustomPrompt="1"/>
          </p:nvPr>
        </p:nvSpPr>
        <p:spPr>
          <a:xfrm>
            <a:off x="516828" y="3777528"/>
            <a:ext cx="11158344" cy="1509175"/>
          </a:xfrm>
          <a:prstGeom prst="rect">
            <a:avLst/>
          </a:prstGeom>
        </p:spPr>
        <p:txBody>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für Ihre Aufmerksamkeit!
</a:t>
            </a:r>
          </a:p>
        </p:txBody>
      </p:sp>
      <p:pic>
        <p:nvPicPr>
          <p:cNvPr id="6" name="Grafik 5">
            <a:extLst>
              <a:ext uri="{FF2B5EF4-FFF2-40B4-BE49-F238E27FC236}">
                <a16:creationId xmlns:a16="http://schemas.microsoft.com/office/drawing/2014/main" id="{D6222E5C-E8FB-9A43-AE28-B67F6CD71874}"/>
              </a:ext>
            </a:extLst>
          </p:cNvPr>
          <p:cNvPicPr>
            <a:picLocks noChangeAspect="1"/>
          </p:cNvPicPr>
          <p:nvPr userDrawn="1"/>
        </p:nvPicPr>
        <p:blipFill>
          <a:blip r:embed="rId3"/>
          <a:stretch>
            <a:fillRect/>
          </a:stretch>
        </p:blipFill>
        <p:spPr>
          <a:xfrm>
            <a:off x="254673" y="216592"/>
            <a:ext cx="2543472" cy="989443"/>
          </a:xfrm>
          <a:prstGeom prst="rect">
            <a:avLst/>
          </a:prstGeom>
        </p:spPr>
      </p:pic>
    </p:spTree>
    <p:extLst>
      <p:ext uri="{BB962C8B-B14F-4D97-AF65-F5344CB8AC3E}">
        <p14:creationId xmlns:p14="http://schemas.microsoft.com/office/powerpoint/2010/main" val="21154049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bschlussfolie 2">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3A43B96-A978-B64B-977C-2A65A368EB4D}"/>
              </a:ext>
            </a:extLst>
          </p:cNvPr>
          <p:cNvPicPr>
            <a:picLocks noChangeAspect="1"/>
          </p:cNvPicPr>
          <p:nvPr userDrawn="1"/>
        </p:nvPicPr>
        <p:blipFill>
          <a:blip r:embed="rId2"/>
          <a:srcRect/>
          <a:stretch/>
        </p:blipFill>
        <p:spPr>
          <a:xfrm>
            <a:off x="0" y="428"/>
            <a:ext cx="12192000" cy="6857142"/>
          </a:xfrm>
          <a:prstGeom prst="rect">
            <a:avLst/>
          </a:prstGeom>
        </p:spPr>
      </p:pic>
      <p:sp>
        <p:nvSpPr>
          <p:cNvPr id="2" name="Titel 1">
            <a:extLst>
              <a:ext uri="{FF2B5EF4-FFF2-40B4-BE49-F238E27FC236}">
                <a16:creationId xmlns:a16="http://schemas.microsoft.com/office/drawing/2014/main" id="{F803ECDC-88CC-9842-A185-9AC8F6ED7FB2}"/>
              </a:ext>
            </a:extLst>
          </p:cNvPr>
          <p:cNvSpPr>
            <a:spLocks noGrp="1"/>
          </p:cNvSpPr>
          <p:nvPr>
            <p:ph type="ctrTitle" hasCustomPrompt="1"/>
          </p:nvPr>
        </p:nvSpPr>
        <p:spPr>
          <a:xfrm>
            <a:off x="516828" y="1769532"/>
            <a:ext cx="11158344" cy="1915921"/>
          </a:xfrm>
          <a:prstGeom prst="rect">
            <a:avLst/>
          </a:prstGeom>
        </p:spPr>
        <p:txBody>
          <a:bodyPr anchor="b"/>
          <a:lstStyle>
            <a:lvl1pPr algn="ctr">
              <a:defRPr sz="5000" b="1">
                <a:solidFill>
                  <a:schemeClr val="accent1"/>
                </a:solidFill>
              </a:defRPr>
            </a:lvl1pPr>
          </a:lstStyle>
          <a:p>
            <a:r>
              <a:rPr lang="de-DE" dirty="0"/>
              <a:t>VIELEN DANK</a:t>
            </a:r>
          </a:p>
        </p:txBody>
      </p:sp>
      <p:sp>
        <p:nvSpPr>
          <p:cNvPr id="3" name="Untertitel 2">
            <a:extLst>
              <a:ext uri="{FF2B5EF4-FFF2-40B4-BE49-F238E27FC236}">
                <a16:creationId xmlns:a16="http://schemas.microsoft.com/office/drawing/2014/main" id="{9E2F722E-A206-384A-B529-23AD110B4E16}"/>
              </a:ext>
            </a:extLst>
          </p:cNvPr>
          <p:cNvSpPr>
            <a:spLocks noGrp="1"/>
          </p:cNvSpPr>
          <p:nvPr>
            <p:ph type="subTitle" idx="1" hasCustomPrompt="1"/>
          </p:nvPr>
        </p:nvSpPr>
        <p:spPr>
          <a:xfrm>
            <a:off x="516828" y="3777529"/>
            <a:ext cx="11158344" cy="1509175"/>
          </a:xfrm>
          <a:prstGeom prst="rect">
            <a:avLst/>
          </a:prstGeom>
        </p:spPr>
        <p:txBody>
          <a:bodyPr/>
          <a:lstStyle>
            <a:lvl1pPr marL="0" indent="0" algn="ctr">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für Ihre Aufmerksamkeit!</a:t>
            </a:r>
          </a:p>
        </p:txBody>
      </p:sp>
      <p:pic>
        <p:nvPicPr>
          <p:cNvPr id="6" name="Grafik 5">
            <a:extLst>
              <a:ext uri="{FF2B5EF4-FFF2-40B4-BE49-F238E27FC236}">
                <a16:creationId xmlns:a16="http://schemas.microsoft.com/office/drawing/2014/main" id="{15CBA8F8-B838-1544-9E5E-62ACA2EAC241}"/>
              </a:ext>
            </a:extLst>
          </p:cNvPr>
          <p:cNvPicPr>
            <a:picLocks noChangeAspect="1"/>
          </p:cNvPicPr>
          <p:nvPr userDrawn="1"/>
        </p:nvPicPr>
        <p:blipFill>
          <a:blip r:embed="rId3"/>
          <a:stretch>
            <a:fillRect/>
          </a:stretch>
        </p:blipFill>
        <p:spPr>
          <a:xfrm>
            <a:off x="254673" y="216592"/>
            <a:ext cx="2543472" cy="989443"/>
          </a:xfrm>
          <a:prstGeom prst="rect">
            <a:avLst/>
          </a:prstGeom>
        </p:spPr>
      </p:pic>
    </p:spTree>
    <p:extLst>
      <p:ext uri="{BB962C8B-B14F-4D97-AF65-F5344CB8AC3E}">
        <p14:creationId xmlns:p14="http://schemas.microsoft.com/office/powerpoint/2010/main" val="20698771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7" name="Titelplatzhalter 9">
            <a:extLst>
              <a:ext uri="{FF2B5EF4-FFF2-40B4-BE49-F238E27FC236}">
                <a16:creationId xmlns:a16="http://schemas.microsoft.com/office/drawing/2014/main" id="{0388727D-01C4-9443-9130-274D9C4067FC}"/>
              </a:ext>
            </a:extLst>
          </p:cNvPr>
          <p:cNvSpPr>
            <a:spLocks noGrp="1"/>
          </p:cNvSpPr>
          <p:nvPr>
            <p:ph type="title" hasCustomPrompt="1"/>
          </p:nvPr>
        </p:nvSpPr>
        <p:spPr>
          <a:xfrm>
            <a:off x="516829" y="1244606"/>
            <a:ext cx="11158342" cy="465764"/>
          </a:xfrm>
          <a:prstGeom prst="rect">
            <a:avLst/>
          </a:prstGeom>
        </p:spPr>
        <p:txBody>
          <a:bodyPr vert="horz" lIns="91440" tIns="45720" rIns="91440" bIns="45720" rtlCol="0" anchor="t" anchorCtr="0">
            <a:noAutofit/>
          </a:bodyPr>
          <a:lstStyle>
            <a:lvl1pPr>
              <a:defRPr sz="3200">
                <a:solidFill>
                  <a:schemeClr val="tx1"/>
                </a:solidFill>
              </a:defRPr>
            </a:lvl1pPr>
          </a:lstStyle>
          <a:p>
            <a:r>
              <a:rPr lang="de-DE" dirty="0"/>
              <a:t>Titel hinzufügen</a:t>
            </a:r>
          </a:p>
        </p:txBody>
      </p:sp>
      <p:sp>
        <p:nvSpPr>
          <p:cNvPr id="9" name="Textplatzhalter 18">
            <a:extLst>
              <a:ext uri="{FF2B5EF4-FFF2-40B4-BE49-F238E27FC236}">
                <a16:creationId xmlns:a16="http://schemas.microsoft.com/office/drawing/2014/main" id="{55678B9D-8A15-994C-A44C-00E8BC33C00A}"/>
              </a:ext>
            </a:extLst>
          </p:cNvPr>
          <p:cNvSpPr>
            <a:spLocks noGrp="1"/>
          </p:cNvSpPr>
          <p:nvPr>
            <p:ph type="body" sz="quarter" idx="11" hasCustomPrompt="1"/>
          </p:nvPr>
        </p:nvSpPr>
        <p:spPr>
          <a:xfrm>
            <a:off x="516828" y="1732216"/>
            <a:ext cx="11158343" cy="465764"/>
          </a:xfrm>
        </p:spPr>
        <p:txBody>
          <a:bodyPr wrap="square"/>
          <a:lstStyle>
            <a:lvl1pPr marL="0" marR="0" indent="0" algn="l" defTabSz="914400" rtl="0" eaLnBrk="1" fontAlgn="auto" latinLnBrk="0" hangingPunct="1">
              <a:lnSpc>
                <a:spcPct val="100000"/>
              </a:lnSpc>
              <a:spcBef>
                <a:spcPts val="0"/>
              </a:spcBef>
              <a:spcAft>
                <a:spcPts val="0"/>
              </a:spcAft>
              <a:buClr>
                <a:schemeClr val="tx2"/>
              </a:buClr>
              <a:buSzTx/>
              <a:buFontTx/>
              <a:buNone/>
              <a:tabLst/>
              <a:defRPr sz="2200">
                <a:solidFill>
                  <a:schemeClr val="tx1"/>
                </a:solidFill>
              </a:defRPr>
            </a:lvl1pPr>
          </a:lstStyle>
          <a:p>
            <a:pPr lvl="0"/>
            <a:r>
              <a:rPr lang="de-DE"/>
              <a:t>Untertitel hinzufügen</a:t>
            </a:r>
          </a:p>
        </p:txBody>
      </p:sp>
      <p:sp>
        <p:nvSpPr>
          <p:cNvPr id="8" name="Fußzeilenplatzhalter 5">
            <a:extLst>
              <a:ext uri="{FF2B5EF4-FFF2-40B4-BE49-F238E27FC236}">
                <a16:creationId xmlns:a16="http://schemas.microsoft.com/office/drawing/2014/main" id="{FB31C0FC-2055-0047-ACD4-9085AA64F41B}"/>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10" name="Foliennummernplatzhalter 6">
            <a:extLst>
              <a:ext uri="{FF2B5EF4-FFF2-40B4-BE49-F238E27FC236}">
                <a16:creationId xmlns:a16="http://schemas.microsoft.com/office/drawing/2014/main" id="{EEAE6514-7F97-6842-8BFE-76B1EE504E41}"/>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11" name="Date Placeholder 3">
            <a:extLst>
              <a:ext uri="{FF2B5EF4-FFF2-40B4-BE49-F238E27FC236}">
                <a16:creationId xmlns:a16="http://schemas.microsoft.com/office/drawing/2014/main" id="{71FA0EF2-EC63-F340-9F96-8C5AAE214C15}"/>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Tree>
    <p:extLst>
      <p:ext uri="{BB962C8B-B14F-4D97-AF65-F5344CB8AC3E}">
        <p14:creationId xmlns:p14="http://schemas.microsoft.com/office/powerpoint/2010/main" val="3985010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amp; 1 Kolumne">
    <p:spTree>
      <p:nvGrpSpPr>
        <p:cNvPr id="1" name=""/>
        <p:cNvGrpSpPr/>
        <p:nvPr/>
      </p:nvGrpSpPr>
      <p:grpSpPr>
        <a:xfrm>
          <a:off x="0" y="0"/>
          <a:ext cx="0" cy="0"/>
          <a:chOff x="0" y="0"/>
          <a:chExt cx="0" cy="0"/>
        </a:xfrm>
      </p:grpSpPr>
      <p:sp>
        <p:nvSpPr>
          <p:cNvPr id="16" name="Inhaltsplatzhalter 2">
            <a:extLst>
              <a:ext uri="{FF2B5EF4-FFF2-40B4-BE49-F238E27FC236}">
                <a16:creationId xmlns:a16="http://schemas.microsoft.com/office/drawing/2014/main" id="{5A786B11-734B-1143-B15A-243C34B0BE5D}"/>
              </a:ext>
            </a:extLst>
          </p:cNvPr>
          <p:cNvSpPr>
            <a:spLocks noGrp="1"/>
          </p:cNvSpPr>
          <p:nvPr>
            <p:ph idx="13" hasCustomPrompt="1"/>
          </p:nvPr>
        </p:nvSpPr>
        <p:spPr>
          <a:xfrm>
            <a:off x="516828" y="2318178"/>
            <a:ext cx="11158344" cy="2968526"/>
          </a:xfrm>
        </p:spPr>
        <p:txBody>
          <a:bodyPr/>
          <a:lstStyle>
            <a:lvl1pPr>
              <a:defRPr sz="2200">
                <a:solidFill>
                  <a:schemeClr val="tx1"/>
                </a:solidFill>
              </a:defRPr>
            </a:lvl1pPr>
            <a:lvl2pPr>
              <a:defRPr>
                <a:solidFill>
                  <a:schemeClr val="tx1"/>
                </a:solidFill>
              </a:defRPr>
            </a:lvl2pPr>
          </a:lstStyle>
          <a:p>
            <a:pPr lvl="0"/>
            <a:r>
              <a:rPr lang="de-DE" dirty="0"/>
              <a:t>Text hinzufügen</a:t>
            </a:r>
          </a:p>
          <a:p>
            <a:pPr lvl="1"/>
            <a:r>
              <a:rPr lang="de-DE" dirty="0"/>
              <a:t>Text hinzufügen  </a:t>
            </a:r>
          </a:p>
        </p:txBody>
      </p:sp>
      <p:sp>
        <p:nvSpPr>
          <p:cNvPr id="9" name="Fußzeilenplatzhalter 5">
            <a:extLst>
              <a:ext uri="{FF2B5EF4-FFF2-40B4-BE49-F238E27FC236}">
                <a16:creationId xmlns:a16="http://schemas.microsoft.com/office/drawing/2014/main" id="{9659ED63-29BA-4C49-A12F-B0D751F090EC}"/>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10" name="Foliennummernplatzhalter 6">
            <a:extLst>
              <a:ext uri="{FF2B5EF4-FFF2-40B4-BE49-F238E27FC236}">
                <a16:creationId xmlns:a16="http://schemas.microsoft.com/office/drawing/2014/main" id="{1BB5AD2E-C9A1-9949-886C-34F4D4DF941F}"/>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11" name="Date Placeholder 3">
            <a:extLst>
              <a:ext uri="{FF2B5EF4-FFF2-40B4-BE49-F238E27FC236}">
                <a16:creationId xmlns:a16="http://schemas.microsoft.com/office/drawing/2014/main" id="{0FEE5C5A-DF05-1B4A-A44C-CCF95C5EF0A6}"/>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
        <p:nvSpPr>
          <p:cNvPr id="12" name="Titelplatzhalter 9">
            <a:extLst>
              <a:ext uri="{FF2B5EF4-FFF2-40B4-BE49-F238E27FC236}">
                <a16:creationId xmlns:a16="http://schemas.microsoft.com/office/drawing/2014/main" id="{73F61F68-02CB-0F4C-A483-FC9591A58DC3}"/>
              </a:ext>
            </a:extLst>
          </p:cNvPr>
          <p:cNvSpPr>
            <a:spLocks noGrp="1"/>
          </p:cNvSpPr>
          <p:nvPr>
            <p:ph type="title" hasCustomPrompt="1"/>
          </p:nvPr>
        </p:nvSpPr>
        <p:spPr>
          <a:xfrm>
            <a:off x="516829" y="1244606"/>
            <a:ext cx="11158342" cy="465764"/>
          </a:xfrm>
          <a:prstGeom prst="rect">
            <a:avLst/>
          </a:prstGeom>
        </p:spPr>
        <p:txBody>
          <a:bodyPr vert="horz" lIns="91440" tIns="45720" rIns="91440" bIns="45720" rtlCol="0" anchor="t" anchorCtr="0">
            <a:noAutofit/>
          </a:bodyPr>
          <a:lstStyle>
            <a:lvl1pPr>
              <a:defRPr sz="3200">
                <a:solidFill>
                  <a:schemeClr val="tx1"/>
                </a:solidFill>
              </a:defRPr>
            </a:lvl1pPr>
          </a:lstStyle>
          <a:p>
            <a:r>
              <a:rPr lang="de-DE" dirty="0"/>
              <a:t>Titel hinzufügen</a:t>
            </a:r>
          </a:p>
        </p:txBody>
      </p:sp>
      <p:sp>
        <p:nvSpPr>
          <p:cNvPr id="13" name="Textplatzhalter 18">
            <a:extLst>
              <a:ext uri="{FF2B5EF4-FFF2-40B4-BE49-F238E27FC236}">
                <a16:creationId xmlns:a16="http://schemas.microsoft.com/office/drawing/2014/main" id="{92A5CCE1-F36B-7540-8147-649C2FD43679}"/>
              </a:ext>
            </a:extLst>
          </p:cNvPr>
          <p:cNvSpPr>
            <a:spLocks noGrp="1"/>
          </p:cNvSpPr>
          <p:nvPr>
            <p:ph type="body" sz="quarter" idx="11" hasCustomPrompt="1"/>
          </p:nvPr>
        </p:nvSpPr>
        <p:spPr>
          <a:xfrm>
            <a:off x="516828" y="1732216"/>
            <a:ext cx="11158343" cy="465764"/>
          </a:xfrm>
        </p:spPr>
        <p:txBody>
          <a:bodyPr wrap="square"/>
          <a:lstStyle>
            <a:lvl1pPr marL="0" marR="0" indent="0" algn="l" defTabSz="914400" rtl="0" eaLnBrk="1" fontAlgn="auto" latinLnBrk="0" hangingPunct="1">
              <a:lnSpc>
                <a:spcPct val="100000"/>
              </a:lnSpc>
              <a:spcBef>
                <a:spcPts val="0"/>
              </a:spcBef>
              <a:spcAft>
                <a:spcPts val="0"/>
              </a:spcAft>
              <a:buClr>
                <a:schemeClr val="tx2"/>
              </a:buClr>
              <a:buSzTx/>
              <a:buFontTx/>
              <a:buNone/>
              <a:tabLst/>
              <a:defRPr sz="2200">
                <a:solidFill>
                  <a:schemeClr val="tx1"/>
                </a:solidFill>
              </a:defRPr>
            </a:lvl1pPr>
          </a:lstStyle>
          <a:p>
            <a:pPr lvl="0"/>
            <a:r>
              <a:rPr lang="de-DE"/>
              <a:t>Untertitel hinzufügen</a:t>
            </a:r>
          </a:p>
        </p:txBody>
      </p:sp>
    </p:spTree>
    <p:extLst>
      <p:ext uri="{BB962C8B-B14F-4D97-AF65-F5344CB8AC3E}">
        <p14:creationId xmlns:p14="http://schemas.microsoft.com/office/powerpoint/2010/main" val="27920328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amp; 1 Kolumne &amp; 1 Bild">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02F70CE1-250E-3842-9039-6EB8F87ACDE7}"/>
              </a:ext>
            </a:extLst>
          </p:cNvPr>
          <p:cNvSpPr>
            <a:spLocks noGrp="1"/>
          </p:cNvSpPr>
          <p:nvPr>
            <p:ph type="pic" sz="quarter" idx="13" hasCustomPrompt="1"/>
          </p:nvPr>
        </p:nvSpPr>
        <p:spPr>
          <a:xfrm>
            <a:off x="516828" y="2385850"/>
            <a:ext cx="2896773" cy="2896774"/>
          </a:xfrm>
          <a:custGeom>
            <a:avLst/>
            <a:gdLst>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640967 h 3845725"/>
              <a:gd name="connsiteX4" fmla="*/ 3845724 w 3845724"/>
              <a:gd name="connsiteY4" fmla="*/ 3204758 h 3845725"/>
              <a:gd name="connsiteX5" fmla="*/ 3204757 w 3845724"/>
              <a:gd name="connsiteY5" fmla="*/ 3845725 h 3845725"/>
              <a:gd name="connsiteX6" fmla="*/ 640967 w 3845724"/>
              <a:gd name="connsiteY6" fmla="*/ 3845725 h 3845725"/>
              <a:gd name="connsiteX7" fmla="*/ 0 w 3845724"/>
              <a:gd name="connsiteY7" fmla="*/ 3204758 h 3845725"/>
              <a:gd name="connsiteX8" fmla="*/ 0 w 3845724"/>
              <a:gd name="connsiteY8" fmla="*/ 640967 h 3845725"/>
              <a:gd name="connsiteX0" fmla="*/ 0 w 3845724"/>
              <a:gd name="connsiteY0" fmla="*/ 857280 h 4062038"/>
              <a:gd name="connsiteX1" fmla="*/ 640967 w 3845724"/>
              <a:gd name="connsiteY1" fmla="*/ 216313 h 4062038"/>
              <a:gd name="connsiteX2" fmla="*/ 3204757 w 3845724"/>
              <a:gd name="connsiteY2" fmla="*/ 216313 h 4062038"/>
              <a:gd name="connsiteX3" fmla="*/ 3834149 w 3845724"/>
              <a:gd name="connsiteY3" fmla="*/ 139650 h 4062038"/>
              <a:gd name="connsiteX4" fmla="*/ 3845724 w 3845724"/>
              <a:gd name="connsiteY4" fmla="*/ 3421071 h 4062038"/>
              <a:gd name="connsiteX5" fmla="*/ 3204757 w 3845724"/>
              <a:gd name="connsiteY5" fmla="*/ 4062038 h 4062038"/>
              <a:gd name="connsiteX6" fmla="*/ 640967 w 3845724"/>
              <a:gd name="connsiteY6" fmla="*/ 4062038 h 4062038"/>
              <a:gd name="connsiteX7" fmla="*/ 0 w 3845724"/>
              <a:gd name="connsiteY7" fmla="*/ 3421071 h 4062038"/>
              <a:gd name="connsiteX8" fmla="*/ 0 w 3845724"/>
              <a:gd name="connsiteY8" fmla="*/ 857280 h 4062038"/>
              <a:gd name="connsiteX0" fmla="*/ 0 w 3845724"/>
              <a:gd name="connsiteY0" fmla="*/ 721769 h 3926527"/>
              <a:gd name="connsiteX1" fmla="*/ 640967 w 3845724"/>
              <a:gd name="connsiteY1" fmla="*/ 80802 h 3926527"/>
              <a:gd name="connsiteX2" fmla="*/ 3204757 w 3845724"/>
              <a:gd name="connsiteY2" fmla="*/ 80802 h 3926527"/>
              <a:gd name="connsiteX3" fmla="*/ 3834149 w 3845724"/>
              <a:gd name="connsiteY3" fmla="*/ 4139 h 3926527"/>
              <a:gd name="connsiteX4" fmla="*/ 3845724 w 3845724"/>
              <a:gd name="connsiteY4" fmla="*/ 3285560 h 3926527"/>
              <a:gd name="connsiteX5" fmla="*/ 3204757 w 3845724"/>
              <a:gd name="connsiteY5" fmla="*/ 3926527 h 3926527"/>
              <a:gd name="connsiteX6" fmla="*/ 640967 w 3845724"/>
              <a:gd name="connsiteY6" fmla="*/ 3926527 h 3926527"/>
              <a:gd name="connsiteX7" fmla="*/ 0 w 3845724"/>
              <a:gd name="connsiteY7" fmla="*/ 3285560 h 3926527"/>
              <a:gd name="connsiteX8" fmla="*/ 0 w 3845724"/>
              <a:gd name="connsiteY8" fmla="*/ 721769 h 3926527"/>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 name="connsiteX0" fmla="*/ 0 w 4071381"/>
              <a:gd name="connsiteY0" fmla="*/ 640967 h 3845725"/>
              <a:gd name="connsiteX1" fmla="*/ 640967 w 4071381"/>
              <a:gd name="connsiteY1" fmla="*/ 0 h 3845725"/>
              <a:gd name="connsiteX2" fmla="*/ 3829790 w 4071381"/>
              <a:gd name="connsiteY2" fmla="*/ 0 h 3845725"/>
              <a:gd name="connsiteX3" fmla="*/ 3845724 w 4071381"/>
              <a:gd name="connsiteY3" fmla="*/ 3204758 h 3845725"/>
              <a:gd name="connsiteX4" fmla="*/ 3204757 w 4071381"/>
              <a:gd name="connsiteY4" fmla="*/ 3845725 h 3845725"/>
              <a:gd name="connsiteX5" fmla="*/ 640967 w 4071381"/>
              <a:gd name="connsiteY5" fmla="*/ 3845725 h 3845725"/>
              <a:gd name="connsiteX6" fmla="*/ 0 w 4071381"/>
              <a:gd name="connsiteY6" fmla="*/ 3204758 h 3845725"/>
              <a:gd name="connsiteX7" fmla="*/ 0 w 4071381"/>
              <a:gd name="connsiteY7" fmla="*/ 640967 h 3845725"/>
              <a:gd name="connsiteX0" fmla="*/ 0 w 3845724"/>
              <a:gd name="connsiteY0" fmla="*/ 640967 h 3845725"/>
              <a:gd name="connsiteX1" fmla="*/ 640967 w 3845724"/>
              <a:gd name="connsiteY1" fmla="*/ 0 h 3845725"/>
              <a:gd name="connsiteX2" fmla="*/ 3829790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5724" h="3845725">
                <a:moveTo>
                  <a:pt x="0" y="640967"/>
                </a:moveTo>
                <a:cubicBezTo>
                  <a:pt x="0" y="286971"/>
                  <a:pt x="286971" y="0"/>
                  <a:pt x="640967" y="0"/>
                </a:cubicBezTo>
                <a:lnTo>
                  <a:pt x="3829790" y="0"/>
                </a:lnTo>
                <a:cubicBezTo>
                  <a:pt x="3819906" y="1690"/>
                  <a:pt x="3845724" y="2563804"/>
                  <a:pt x="3845724" y="3204758"/>
                </a:cubicBezTo>
                <a:cubicBezTo>
                  <a:pt x="3845724" y="3558754"/>
                  <a:pt x="3558753" y="3845725"/>
                  <a:pt x="3204757" y="3845725"/>
                </a:cubicBezTo>
                <a:lnTo>
                  <a:pt x="640967" y="3845725"/>
                </a:lnTo>
                <a:cubicBezTo>
                  <a:pt x="286971" y="3845725"/>
                  <a:pt x="0" y="3558754"/>
                  <a:pt x="0" y="3204758"/>
                </a:cubicBezTo>
                <a:lnTo>
                  <a:pt x="0" y="640967"/>
                </a:lnTo>
                <a:close/>
              </a:path>
            </a:pathLst>
          </a:custGeom>
          <a:solidFill>
            <a:schemeClr val="bg2">
              <a:lumMod val="95000"/>
            </a:schemeClr>
          </a:solidFill>
          <a:ln>
            <a:noFill/>
          </a:ln>
        </p:spPr>
        <p:style>
          <a:lnRef idx="2">
            <a:schemeClr val="accent1"/>
          </a:lnRef>
          <a:fillRef idx="1">
            <a:schemeClr val="lt1"/>
          </a:fillRef>
          <a:effectRef idx="0">
            <a:schemeClr val="accent1"/>
          </a:effectRef>
          <a:fontRef idx="minor">
            <a:schemeClr val="dk1"/>
          </a:fontRef>
        </p:style>
        <p:txBody>
          <a:bodyPr/>
          <a:lstStyle>
            <a:lvl1pPr marL="0" indent="0" algn="ctr">
              <a:buFontTx/>
              <a:buNone/>
              <a:defRPr sz="1400"/>
            </a:lvl1pPr>
          </a:lstStyle>
          <a:p>
            <a:r>
              <a:rPr lang="de-DE"/>
              <a:t>Bild einfügen</a:t>
            </a:r>
          </a:p>
        </p:txBody>
      </p:sp>
      <p:sp>
        <p:nvSpPr>
          <p:cNvPr id="24" name="Inhaltsplatzhalter 14">
            <a:extLst>
              <a:ext uri="{FF2B5EF4-FFF2-40B4-BE49-F238E27FC236}">
                <a16:creationId xmlns:a16="http://schemas.microsoft.com/office/drawing/2014/main" id="{D2323747-C449-A44D-B608-08C8005C7AE3}"/>
              </a:ext>
            </a:extLst>
          </p:cNvPr>
          <p:cNvSpPr>
            <a:spLocks noGrp="1"/>
          </p:cNvSpPr>
          <p:nvPr>
            <p:ph sz="quarter" idx="12" hasCustomPrompt="1"/>
          </p:nvPr>
        </p:nvSpPr>
        <p:spPr>
          <a:xfrm>
            <a:off x="3950209" y="2314098"/>
            <a:ext cx="7724962" cy="2026254"/>
          </a:xfrm>
        </p:spPr>
        <p:txBody>
          <a:bodyPr/>
          <a:lstStyle>
            <a:lvl2pPr marL="742950" indent="-285750">
              <a:buFont typeface="Wingdings" pitchFamily="2" charset="2"/>
              <a:buChar char="§"/>
              <a:defRPr/>
            </a:lvl2pPr>
            <a:lvl3pPr marL="914400" indent="0">
              <a:buNone/>
              <a:defRPr/>
            </a:lvl3pPr>
          </a:lstStyle>
          <a:p>
            <a:pPr lvl="0"/>
            <a:r>
              <a:rPr lang="de-DE" dirty="0"/>
              <a:t>Text hinzufügen</a:t>
            </a:r>
          </a:p>
        </p:txBody>
      </p:sp>
      <p:sp>
        <p:nvSpPr>
          <p:cNvPr id="25" name="Fußzeilenplatzhalter 5">
            <a:extLst>
              <a:ext uri="{FF2B5EF4-FFF2-40B4-BE49-F238E27FC236}">
                <a16:creationId xmlns:a16="http://schemas.microsoft.com/office/drawing/2014/main" id="{5B3F943B-BD20-3D4D-93C6-B04D26A54AEC}"/>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26" name="Foliennummernplatzhalter 6">
            <a:extLst>
              <a:ext uri="{FF2B5EF4-FFF2-40B4-BE49-F238E27FC236}">
                <a16:creationId xmlns:a16="http://schemas.microsoft.com/office/drawing/2014/main" id="{4EEDBB04-7EB6-024E-86C7-5379B8300A63}"/>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27" name="Date Placeholder 3">
            <a:extLst>
              <a:ext uri="{FF2B5EF4-FFF2-40B4-BE49-F238E27FC236}">
                <a16:creationId xmlns:a16="http://schemas.microsoft.com/office/drawing/2014/main" id="{6CB3679C-C68F-794F-8613-E8441B304866}"/>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
        <p:nvSpPr>
          <p:cNvPr id="28" name="Titelplatzhalter 9">
            <a:extLst>
              <a:ext uri="{FF2B5EF4-FFF2-40B4-BE49-F238E27FC236}">
                <a16:creationId xmlns:a16="http://schemas.microsoft.com/office/drawing/2014/main" id="{FB371D5A-6DBC-994C-8E10-0F5A07F63245}"/>
              </a:ext>
            </a:extLst>
          </p:cNvPr>
          <p:cNvSpPr>
            <a:spLocks noGrp="1"/>
          </p:cNvSpPr>
          <p:nvPr>
            <p:ph type="title" hasCustomPrompt="1"/>
          </p:nvPr>
        </p:nvSpPr>
        <p:spPr>
          <a:xfrm>
            <a:off x="516829" y="1244606"/>
            <a:ext cx="11158342" cy="465764"/>
          </a:xfrm>
          <a:prstGeom prst="rect">
            <a:avLst/>
          </a:prstGeom>
        </p:spPr>
        <p:txBody>
          <a:bodyPr vert="horz" lIns="91440" tIns="45720" rIns="91440" bIns="45720" rtlCol="0" anchor="t" anchorCtr="0">
            <a:noAutofit/>
          </a:bodyPr>
          <a:lstStyle>
            <a:lvl1pPr>
              <a:defRPr sz="3200">
                <a:solidFill>
                  <a:schemeClr val="tx1"/>
                </a:solidFill>
              </a:defRPr>
            </a:lvl1pPr>
          </a:lstStyle>
          <a:p>
            <a:r>
              <a:rPr lang="de-DE" dirty="0"/>
              <a:t>Titel hinzufügen</a:t>
            </a:r>
          </a:p>
        </p:txBody>
      </p:sp>
      <p:sp>
        <p:nvSpPr>
          <p:cNvPr id="29" name="Textplatzhalter 18">
            <a:extLst>
              <a:ext uri="{FF2B5EF4-FFF2-40B4-BE49-F238E27FC236}">
                <a16:creationId xmlns:a16="http://schemas.microsoft.com/office/drawing/2014/main" id="{EC29C7FA-09FB-5540-A40D-C65F51618DE6}"/>
              </a:ext>
            </a:extLst>
          </p:cNvPr>
          <p:cNvSpPr>
            <a:spLocks noGrp="1"/>
          </p:cNvSpPr>
          <p:nvPr>
            <p:ph type="body" sz="quarter" idx="11" hasCustomPrompt="1"/>
          </p:nvPr>
        </p:nvSpPr>
        <p:spPr>
          <a:xfrm>
            <a:off x="516828" y="1732216"/>
            <a:ext cx="11158343" cy="465764"/>
          </a:xfrm>
        </p:spPr>
        <p:txBody>
          <a:bodyPr wrap="square"/>
          <a:lstStyle>
            <a:lvl1pPr marL="0" marR="0" indent="0" algn="l" defTabSz="914400" rtl="0" eaLnBrk="1" fontAlgn="auto" latinLnBrk="0" hangingPunct="1">
              <a:lnSpc>
                <a:spcPct val="100000"/>
              </a:lnSpc>
              <a:spcBef>
                <a:spcPts val="0"/>
              </a:spcBef>
              <a:spcAft>
                <a:spcPts val="0"/>
              </a:spcAft>
              <a:buClr>
                <a:schemeClr val="tx2"/>
              </a:buClr>
              <a:buSzTx/>
              <a:buFontTx/>
              <a:buNone/>
              <a:tabLst/>
              <a:defRPr sz="2200">
                <a:solidFill>
                  <a:schemeClr val="tx1"/>
                </a:solidFill>
              </a:defRPr>
            </a:lvl1pPr>
          </a:lstStyle>
          <a:p>
            <a:pPr lvl="0"/>
            <a:r>
              <a:rPr lang="de-DE"/>
              <a:t>Untertitel hinzufügen</a:t>
            </a:r>
          </a:p>
        </p:txBody>
      </p:sp>
      <p:sp>
        <p:nvSpPr>
          <p:cNvPr id="34" name="Inhaltsplatzhalter 2">
            <a:extLst>
              <a:ext uri="{FF2B5EF4-FFF2-40B4-BE49-F238E27FC236}">
                <a16:creationId xmlns:a16="http://schemas.microsoft.com/office/drawing/2014/main" id="{57165018-1F7F-DF4E-A617-AFCE6EA5B0D7}"/>
              </a:ext>
            </a:extLst>
          </p:cNvPr>
          <p:cNvSpPr>
            <a:spLocks noGrp="1"/>
          </p:cNvSpPr>
          <p:nvPr>
            <p:ph sz="half" idx="17" hasCustomPrompt="1"/>
          </p:nvPr>
        </p:nvSpPr>
        <p:spPr>
          <a:xfrm>
            <a:off x="3950208" y="4472150"/>
            <a:ext cx="7724961" cy="810474"/>
          </a:xfrm>
        </p:spPr>
        <p:txBody>
          <a:bodyPr/>
          <a:lstStyle>
            <a:lvl1pPr marL="0" indent="0">
              <a:buFontTx/>
              <a:buNone/>
              <a:defRPr sz="1400">
                <a:solidFill>
                  <a:schemeClr val="tx1"/>
                </a:solidFill>
              </a:defRPr>
            </a:lvl1pPr>
          </a:lstStyle>
          <a:p>
            <a:pPr lvl="0"/>
            <a:r>
              <a:rPr lang="de-DE" dirty="0"/>
              <a:t>Text hinzufügen</a:t>
            </a:r>
          </a:p>
        </p:txBody>
      </p:sp>
    </p:spTree>
    <p:extLst>
      <p:ext uri="{BB962C8B-B14F-4D97-AF65-F5344CB8AC3E}">
        <p14:creationId xmlns:p14="http://schemas.microsoft.com/office/powerpoint/2010/main" val="24763636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amp; 4 Bilder">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02F70CE1-250E-3842-9039-6EB8F87ACDE7}"/>
              </a:ext>
            </a:extLst>
          </p:cNvPr>
          <p:cNvSpPr>
            <a:spLocks noGrp="1"/>
          </p:cNvSpPr>
          <p:nvPr>
            <p:ph type="pic" sz="quarter" idx="13" hasCustomPrompt="1"/>
          </p:nvPr>
        </p:nvSpPr>
        <p:spPr>
          <a:xfrm>
            <a:off x="9071570" y="2683102"/>
            <a:ext cx="2603601" cy="2603602"/>
          </a:xfrm>
          <a:custGeom>
            <a:avLst/>
            <a:gdLst>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640967 h 3845725"/>
              <a:gd name="connsiteX4" fmla="*/ 3845724 w 3845724"/>
              <a:gd name="connsiteY4" fmla="*/ 3204758 h 3845725"/>
              <a:gd name="connsiteX5" fmla="*/ 3204757 w 3845724"/>
              <a:gd name="connsiteY5" fmla="*/ 3845725 h 3845725"/>
              <a:gd name="connsiteX6" fmla="*/ 640967 w 3845724"/>
              <a:gd name="connsiteY6" fmla="*/ 3845725 h 3845725"/>
              <a:gd name="connsiteX7" fmla="*/ 0 w 3845724"/>
              <a:gd name="connsiteY7" fmla="*/ 3204758 h 3845725"/>
              <a:gd name="connsiteX8" fmla="*/ 0 w 3845724"/>
              <a:gd name="connsiteY8" fmla="*/ 640967 h 3845725"/>
              <a:gd name="connsiteX0" fmla="*/ 0 w 3845724"/>
              <a:gd name="connsiteY0" fmla="*/ 857280 h 4062038"/>
              <a:gd name="connsiteX1" fmla="*/ 640967 w 3845724"/>
              <a:gd name="connsiteY1" fmla="*/ 216313 h 4062038"/>
              <a:gd name="connsiteX2" fmla="*/ 3204757 w 3845724"/>
              <a:gd name="connsiteY2" fmla="*/ 216313 h 4062038"/>
              <a:gd name="connsiteX3" fmla="*/ 3834149 w 3845724"/>
              <a:gd name="connsiteY3" fmla="*/ 139650 h 4062038"/>
              <a:gd name="connsiteX4" fmla="*/ 3845724 w 3845724"/>
              <a:gd name="connsiteY4" fmla="*/ 3421071 h 4062038"/>
              <a:gd name="connsiteX5" fmla="*/ 3204757 w 3845724"/>
              <a:gd name="connsiteY5" fmla="*/ 4062038 h 4062038"/>
              <a:gd name="connsiteX6" fmla="*/ 640967 w 3845724"/>
              <a:gd name="connsiteY6" fmla="*/ 4062038 h 4062038"/>
              <a:gd name="connsiteX7" fmla="*/ 0 w 3845724"/>
              <a:gd name="connsiteY7" fmla="*/ 3421071 h 4062038"/>
              <a:gd name="connsiteX8" fmla="*/ 0 w 3845724"/>
              <a:gd name="connsiteY8" fmla="*/ 857280 h 4062038"/>
              <a:gd name="connsiteX0" fmla="*/ 0 w 3845724"/>
              <a:gd name="connsiteY0" fmla="*/ 721769 h 3926527"/>
              <a:gd name="connsiteX1" fmla="*/ 640967 w 3845724"/>
              <a:gd name="connsiteY1" fmla="*/ 80802 h 3926527"/>
              <a:gd name="connsiteX2" fmla="*/ 3204757 w 3845724"/>
              <a:gd name="connsiteY2" fmla="*/ 80802 h 3926527"/>
              <a:gd name="connsiteX3" fmla="*/ 3834149 w 3845724"/>
              <a:gd name="connsiteY3" fmla="*/ 4139 h 3926527"/>
              <a:gd name="connsiteX4" fmla="*/ 3845724 w 3845724"/>
              <a:gd name="connsiteY4" fmla="*/ 3285560 h 3926527"/>
              <a:gd name="connsiteX5" fmla="*/ 3204757 w 3845724"/>
              <a:gd name="connsiteY5" fmla="*/ 3926527 h 3926527"/>
              <a:gd name="connsiteX6" fmla="*/ 640967 w 3845724"/>
              <a:gd name="connsiteY6" fmla="*/ 3926527 h 3926527"/>
              <a:gd name="connsiteX7" fmla="*/ 0 w 3845724"/>
              <a:gd name="connsiteY7" fmla="*/ 3285560 h 3926527"/>
              <a:gd name="connsiteX8" fmla="*/ 0 w 3845724"/>
              <a:gd name="connsiteY8" fmla="*/ 721769 h 3926527"/>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 name="connsiteX0" fmla="*/ 0 w 4071381"/>
              <a:gd name="connsiteY0" fmla="*/ 640967 h 3845725"/>
              <a:gd name="connsiteX1" fmla="*/ 640967 w 4071381"/>
              <a:gd name="connsiteY1" fmla="*/ 0 h 3845725"/>
              <a:gd name="connsiteX2" fmla="*/ 3829790 w 4071381"/>
              <a:gd name="connsiteY2" fmla="*/ 0 h 3845725"/>
              <a:gd name="connsiteX3" fmla="*/ 3845724 w 4071381"/>
              <a:gd name="connsiteY3" fmla="*/ 3204758 h 3845725"/>
              <a:gd name="connsiteX4" fmla="*/ 3204757 w 4071381"/>
              <a:gd name="connsiteY4" fmla="*/ 3845725 h 3845725"/>
              <a:gd name="connsiteX5" fmla="*/ 640967 w 4071381"/>
              <a:gd name="connsiteY5" fmla="*/ 3845725 h 3845725"/>
              <a:gd name="connsiteX6" fmla="*/ 0 w 4071381"/>
              <a:gd name="connsiteY6" fmla="*/ 3204758 h 3845725"/>
              <a:gd name="connsiteX7" fmla="*/ 0 w 4071381"/>
              <a:gd name="connsiteY7" fmla="*/ 640967 h 3845725"/>
              <a:gd name="connsiteX0" fmla="*/ 0 w 3845724"/>
              <a:gd name="connsiteY0" fmla="*/ 640967 h 3845725"/>
              <a:gd name="connsiteX1" fmla="*/ 640967 w 3845724"/>
              <a:gd name="connsiteY1" fmla="*/ 0 h 3845725"/>
              <a:gd name="connsiteX2" fmla="*/ 3829790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5724" h="3845725">
                <a:moveTo>
                  <a:pt x="0" y="640967"/>
                </a:moveTo>
                <a:cubicBezTo>
                  <a:pt x="0" y="286971"/>
                  <a:pt x="286971" y="0"/>
                  <a:pt x="640967" y="0"/>
                </a:cubicBezTo>
                <a:lnTo>
                  <a:pt x="3829790" y="0"/>
                </a:lnTo>
                <a:cubicBezTo>
                  <a:pt x="3819906" y="1690"/>
                  <a:pt x="3845724" y="2563804"/>
                  <a:pt x="3845724" y="3204758"/>
                </a:cubicBezTo>
                <a:cubicBezTo>
                  <a:pt x="3845724" y="3558754"/>
                  <a:pt x="3558753" y="3845725"/>
                  <a:pt x="3204757" y="3845725"/>
                </a:cubicBezTo>
                <a:lnTo>
                  <a:pt x="640967" y="3845725"/>
                </a:lnTo>
                <a:cubicBezTo>
                  <a:pt x="286971" y="3845725"/>
                  <a:pt x="0" y="3558754"/>
                  <a:pt x="0" y="3204758"/>
                </a:cubicBezTo>
                <a:lnTo>
                  <a:pt x="0" y="640967"/>
                </a:lnTo>
                <a:close/>
              </a:path>
            </a:pathLst>
          </a:custGeom>
          <a:solidFill>
            <a:schemeClr val="bg2">
              <a:lumMod val="95000"/>
            </a:schemeClr>
          </a:solidFill>
          <a:ln>
            <a:noFill/>
          </a:ln>
        </p:spPr>
        <p:style>
          <a:lnRef idx="2">
            <a:schemeClr val="accent1"/>
          </a:lnRef>
          <a:fillRef idx="1">
            <a:schemeClr val="lt1"/>
          </a:fillRef>
          <a:effectRef idx="0">
            <a:schemeClr val="accent1"/>
          </a:effectRef>
          <a:fontRef idx="minor">
            <a:schemeClr val="dk1"/>
          </a:fontRef>
        </p:style>
        <p:txBody>
          <a:bodyPr/>
          <a:lstStyle>
            <a:lvl1pPr marL="0" indent="0" algn="ctr">
              <a:buFontTx/>
              <a:buNone/>
              <a:defRPr sz="1400"/>
            </a:lvl1pPr>
          </a:lstStyle>
          <a:p>
            <a:r>
              <a:rPr lang="de-DE"/>
              <a:t>Bild einfügen</a:t>
            </a:r>
          </a:p>
        </p:txBody>
      </p:sp>
      <p:sp>
        <p:nvSpPr>
          <p:cNvPr id="25" name="Fußzeilenplatzhalter 5">
            <a:extLst>
              <a:ext uri="{FF2B5EF4-FFF2-40B4-BE49-F238E27FC236}">
                <a16:creationId xmlns:a16="http://schemas.microsoft.com/office/drawing/2014/main" id="{5B3F943B-BD20-3D4D-93C6-B04D26A54AEC}"/>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26" name="Foliennummernplatzhalter 6">
            <a:extLst>
              <a:ext uri="{FF2B5EF4-FFF2-40B4-BE49-F238E27FC236}">
                <a16:creationId xmlns:a16="http://schemas.microsoft.com/office/drawing/2014/main" id="{4EEDBB04-7EB6-024E-86C7-5379B8300A63}"/>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27" name="Date Placeholder 3">
            <a:extLst>
              <a:ext uri="{FF2B5EF4-FFF2-40B4-BE49-F238E27FC236}">
                <a16:creationId xmlns:a16="http://schemas.microsoft.com/office/drawing/2014/main" id="{6CB3679C-C68F-794F-8613-E8441B304866}"/>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
        <p:nvSpPr>
          <p:cNvPr id="28" name="Titelplatzhalter 9">
            <a:extLst>
              <a:ext uri="{FF2B5EF4-FFF2-40B4-BE49-F238E27FC236}">
                <a16:creationId xmlns:a16="http://schemas.microsoft.com/office/drawing/2014/main" id="{FB371D5A-6DBC-994C-8E10-0F5A07F63245}"/>
              </a:ext>
            </a:extLst>
          </p:cNvPr>
          <p:cNvSpPr>
            <a:spLocks noGrp="1"/>
          </p:cNvSpPr>
          <p:nvPr>
            <p:ph type="title" hasCustomPrompt="1"/>
          </p:nvPr>
        </p:nvSpPr>
        <p:spPr>
          <a:xfrm>
            <a:off x="516829" y="1244606"/>
            <a:ext cx="11158342" cy="465764"/>
          </a:xfrm>
          <a:prstGeom prst="rect">
            <a:avLst/>
          </a:prstGeom>
        </p:spPr>
        <p:txBody>
          <a:bodyPr vert="horz" lIns="91440" tIns="45720" rIns="91440" bIns="45720" rtlCol="0" anchor="t" anchorCtr="0">
            <a:noAutofit/>
          </a:bodyPr>
          <a:lstStyle>
            <a:lvl1pPr>
              <a:defRPr sz="3200">
                <a:solidFill>
                  <a:schemeClr val="tx1"/>
                </a:solidFill>
              </a:defRPr>
            </a:lvl1pPr>
          </a:lstStyle>
          <a:p>
            <a:r>
              <a:rPr lang="de-DE" dirty="0"/>
              <a:t>Titel hinzufügen</a:t>
            </a:r>
          </a:p>
        </p:txBody>
      </p:sp>
      <p:sp>
        <p:nvSpPr>
          <p:cNvPr id="29" name="Textplatzhalter 18">
            <a:extLst>
              <a:ext uri="{FF2B5EF4-FFF2-40B4-BE49-F238E27FC236}">
                <a16:creationId xmlns:a16="http://schemas.microsoft.com/office/drawing/2014/main" id="{EC29C7FA-09FB-5540-A40D-C65F51618DE6}"/>
              </a:ext>
            </a:extLst>
          </p:cNvPr>
          <p:cNvSpPr>
            <a:spLocks noGrp="1"/>
          </p:cNvSpPr>
          <p:nvPr>
            <p:ph type="body" sz="quarter" idx="11" hasCustomPrompt="1"/>
          </p:nvPr>
        </p:nvSpPr>
        <p:spPr>
          <a:xfrm>
            <a:off x="516828" y="1732216"/>
            <a:ext cx="11158343" cy="465764"/>
          </a:xfrm>
        </p:spPr>
        <p:txBody>
          <a:bodyPr wrap="square"/>
          <a:lstStyle>
            <a:lvl1pPr marL="0" marR="0" indent="0" algn="l" defTabSz="914400" rtl="0" eaLnBrk="1" fontAlgn="auto" latinLnBrk="0" hangingPunct="1">
              <a:lnSpc>
                <a:spcPct val="100000"/>
              </a:lnSpc>
              <a:spcBef>
                <a:spcPts val="0"/>
              </a:spcBef>
              <a:spcAft>
                <a:spcPts val="0"/>
              </a:spcAft>
              <a:buClr>
                <a:schemeClr val="tx2"/>
              </a:buClr>
              <a:buSzTx/>
              <a:buFontTx/>
              <a:buNone/>
              <a:tabLst/>
              <a:defRPr sz="2200">
                <a:solidFill>
                  <a:schemeClr val="tx1"/>
                </a:solidFill>
              </a:defRPr>
            </a:lvl1pPr>
          </a:lstStyle>
          <a:p>
            <a:pPr lvl="0"/>
            <a:r>
              <a:rPr lang="de-DE"/>
              <a:t>Untertitel hinzufügen</a:t>
            </a:r>
          </a:p>
        </p:txBody>
      </p:sp>
      <p:sp>
        <p:nvSpPr>
          <p:cNvPr id="9" name="Bildplatzhalter 18">
            <a:extLst>
              <a:ext uri="{FF2B5EF4-FFF2-40B4-BE49-F238E27FC236}">
                <a16:creationId xmlns:a16="http://schemas.microsoft.com/office/drawing/2014/main" id="{05D81D36-BB02-894C-B58A-B9F4C6541A56}"/>
              </a:ext>
            </a:extLst>
          </p:cNvPr>
          <p:cNvSpPr>
            <a:spLocks noGrp="1"/>
          </p:cNvSpPr>
          <p:nvPr>
            <p:ph type="pic" sz="quarter" idx="14" hasCustomPrompt="1"/>
          </p:nvPr>
        </p:nvSpPr>
        <p:spPr>
          <a:xfrm>
            <a:off x="6219990" y="2683102"/>
            <a:ext cx="2603601" cy="2603602"/>
          </a:xfrm>
          <a:custGeom>
            <a:avLst/>
            <a:gdLst>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640967 h 3845725"/>
              <a:gd name="connsiteX4" fmla="*/ 3845724 w 3845724"/>
              <a:gd name="connsiteY4" fmla="*/ 3204758 h 3845725"/>
              <a:gd name="connsiteX5" fmla="*/ 3204757 w 3845724"/>
              <a:gd name="connsiteY5" fmla="*/ 3845725 h 3845725"/>
              <a:gd name="connsiteX6" fmla="*/ 640967 w 3845724"/>
              <a:gd name="connsiteY6" fmla="*/ 3845725 h 3845725"/>
              <a:gd name="connsiteX7" fmla="*/ 0 w 3845724"/>
              <a:gd name="connsiteY7" fmla="*/ 3204758 h 3845725"/>
              <a:gd name="connsiteX8" fmla="*/ 0 w 3845724"/>
              <a:gd name="connsiteY8" fmla="*/ 640967 h 3845725"/>
              <a:gd name="connsiteX0" fmla="*/ 0 w 3845724"/>
              <a:gd name="connsiteY0" fmla="*/ 857280 h 4062038"/>
              <a:gd name="connsiteX1" fmla="*/ 640967 w 3845724"/>
              <a:gd name="connsiteY1" fmla="*/ 216313 h 4062038"/>
              <a:gd name="connsiteX2" fmla="*/ 3204757 w 3845724"/>
              <a:gd name="connsiteY2" fmla="*/ 216313 h 4062038"/>
              <a:gd name="connsiteX3" fmla="*/ 3834149 w 3845724"/>
              <a:gd name="connsiteY3" fmla="*/ 139650 h 4062038"/>
              <a:gd name="connsiteX4" fmla="*/ 3845724 w 3845724"/>
              <a:gd name="connsiteY4" fmla="*/ 3421071 h 4062038"/>
              <a:gd name="connsiteX5" fmla="*/ 3204757 w 3845724"/>
              <a:gd name="connsiteY5" fmla="*/ 4062038 h 4062038"/>
              <a:gd name="connsiteX6" fmla="*/ 640967 w 3845724"/>
              <a:gd name="connsiteY6" fmla="*/ 4062038 h 4062038"/>
              <a:gd name="connsiteX7" fmla="*/ 0 w 3845724"/>
              <a:gd name="connsiteY7" fmla="*/ 3421071 h 4062038"/>
              <a:gd name="connsiteX8" fmla="*/ 0 w 3845724"/>
              <a:gd name="connsiteY8" fmla="*/ 857280 h 4062038"/>
              <a:gd name="connsiteX0" fmla="*/ 0 w 3845724"/>
              <a:gd name="connsiteY0" fmla="*/ 721769 h 3926527"/>
              <a:gd name="connsiteX1" fmla="*/ 640967 w 3845724"/>
              <a:gd name="connsiteY1" fmla="*/ 80802 h 3926527"/>
              <a:gd name="connsiteX2" fmla="*/ 3204757 w 3845724"/>
              <a:gd name="connsiteY2" fmla="*/ 80802 h 3926527"/>
              <a:gd name="connsiteX3" fmla="*/ 3834149 w 3845724"/>
              <a:gd name="connsiteY3" fmla="*/ 4139 h 3926527"/>
              <a:gd name="connsiteX4" fmla="*/ 3845724 w 3845724"/>
              <a:gd name="connsiteY4" fmla="*/ 3285560 h 3926527"/>
              <a:gd name="connsiteX5" fmla="*/ 3204757 w 3845724"/>
              <a:gd name="connsiteY5" fmla="*/ 3926527 h 3926527"/>
              <a:gd name="connsiteX6" fmla="*/ 640967 w 3845724"/>
              <a:gd name="connsiteY6" fmla="*/ 3926527 h 3926527"/>
              <a:gd name="connsiteX7" fmla="*/ 0 w 3845724"/>
              <a:gd name="connsiteY7" fmla="*/ 3285560 h 3926527"/>
              <a:gd name="connsiteX8" fmla="*/ 0 w 3845724"/>
              <a:gd name="connsiteY8" fmla="*/ 721769 h 3926527"/>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 name="connsiteX0" fmla="*/ 0 w 4071381"/>
              <a:gd name="connsiteY0" fmla="*/ 640967 h 3845725"/>
              <a:gd name="connsiteX1" fmla="*/ 640967 w 4071381"/>
              <a:gd name="connsiteY1" fmla="*/ 0 h 3845725"/>
              <a:gd name="connsiteX2" fmla="*/ 3829790 w 4071381"/>
              <a:gd name="connsiteY2" fmla="*/ 0 h 3845725"/>
              <a:gd name="connsiteX3" fmla="*/ 3845724 w 4071381"/>
              <a:gd name="connsiteY3" fmla="*/ 3204758 h 3845725"/>
              <a:gd name="connsiteX4" fmla="*/ 3204757 w 4071381"/>
              <a:gd name="connsiteY4" fmla="*/ 3845725 h 3845725"/>
              <a:gd name="connsiteX5" fmla="*/ 640967 w 4071381"/>
              <a:gd name="connsiteY5" fmla="*/ 3845725 h 3845725"/>
              <a:gd name="connsiteX6" fmla="*/ 0 w 4071381"/>
              <a:gd name="connsiteY6" fmla="*/ 3204758 h 3845725"/>
              <a:gd name="connsiteX7" fmla="*/ 0 w 4071381"/>
              <a:gd name="connsiteY7" fmla="*/ 640967 h 3845725"/>
              <a:gd name="connsiteX0" fmla="*/ 0 w 3845724"/>
              <a:gd name="connsiteY0" fmla="*/ 640967 h 3845725"/>
              <a:gd name="connsiteX1" fmla="*/ 640967 w 3845724"/>
              <a:gd name="connsiteY1" fmla="*/ 0 h 3845725"/>
              <a:gd name="connsiteX2" fmla="*/ 3829790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5724" h="3845725">
                <a:moveTo>
                  <a:pt x="0" y="640967"/>
                </a:moveTo>
                <a:cubicBezTo>
                  <a:pt x="0" y="286971"/>
                  <a:pt x="286971" y="0"/>
                  <a:pt x="640967" y="0"/>
                </a:cubicBezTo>
                <a:lnTo>
                  <a:pt x="3829790" y="0"/>
                </a:lnTo>
                <a:cubicBezTo>
                  <a:pt x="3819906" y="1690"/>
                  <a:pt x="3845724" y="2563804"/>
                  <a:pt x="3845724" y="3204758"/>
                </a:cubicBezTo>
                <a:cubicBezTo>
                  <a:pt x="3845724" y="3558754"/>
                  <a:pt x="3558753" y="3845725"/>
                  <a:pt x="3204757" y="3845725"/>
                </a:cubicBezTo>
                <a:lnTo>
                  <a:pt x="640967" y="3845725"/>
                </a:lnTo>
                <a:cubicBezTo>
                  <a:pt x="286971" y="3845725"/>
                  <a:pt x="0" y="3558754"/>
                  <a:pt x="0" y="3204758"/>
                </a:cubicBezTo>
                <a:lnTo>
                  <a:pt x="0" y="640967"/>
                </a:lnTo>
                <a:close/>
              </a:path>
            </a:pathLst>
          </a:custGeom>
          <a:solidFill>
            <a:schemeClr val="bg2">
              <a:lumMod val="95000"/>
            </a:schemeClr>
          </a:solidFill>
          <a:ln>
            <a:noFill/>
          </a:ln>
        </p:spPr>
        <p:style>
          <a:lnRef idx="2">
            <a:schemeClr val="accent1"/>
          </a:lnRef>
          <a:fillRef idx="1">
            <a:schemeClr val="lt1"/>
          </a:fillRef>
          <a:effectRef idx="0">
            <a:schemeClr val="accent1"/>
          </a:effectRef>
          <a:fontRef idx="minor">
            <a:schemeClr val="dk1"/>
          </a:fontRef>
        </p:style>
        <p:txBody>
          <a:bodyPr/>
          <a:lstStyle>
            <a:lvl1pPr marL="0" indent="0" algn="ctr">
              <a:buFontTx/>
              <a:buNone/>
              <a:defRPr sz="1400"/>
            </a:lvl1pPr>
          </a:lstStyle>
          <a:p>
            <a:r>
              <a:rPr lang="de-DE"/>
              <a:t>Bild einfügen</a:t>
            </a:r>
          </a:p>
        </p:txBody>
      </p:sp>
      <p:sp>
        <p:nvSpPr>
          <p:cNvPr id="10" name="Bildplatzhalter 18">
            <a:extLst>
              <a:ext uri="{FF2B5EF4-FFF2-40B4-BE49-F238E27FC236}">
                <a16:creationId xmlns:a16="http://schemas.microsoft.com/office/drawing/2014/main" id="{2DFFFB0C-E6E3-1940-96A9-7FF609011EAF}"/>
              </a:ext>
            </a:extLst>
          </p:cNvPr>
          <p:cNvSpPr>
            <a:spLocks noGrp="1"/>
          </p:cNvSpPr>
          <p:nvPr>
            <p:ph type="pic" sz="quarter" idx="15" hasCustomPrompt="1"/>
          </p:nvPr>
        </p:nvSpPr>
        <p:spPr>
          <a:xfrm>
            <a:off x="3368409" y="2683102"/>
            <a:ext cx="2603601" cy="2603602"/>
          </a:xfrm>
          <a:custGeom>
            <a:avLst/>
            <a:gdLst>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640967 h 3845725"/>
              <a:gd name="connsiteX4" fmla="*/ 3845724 w 3845724"/>
              <a:gd name="connsiteY4" fmla="*/ 3204758 h 3845725"/>
              <a:gd name="connsiteX5" fmla="*/ 3204757 w 3845724"/>
              <a:gd name="connsiteY5" fmla="*/ 3845725 h 3845725"/>
              <a:gd name="connsiteX6" fmla="*/ 640967 w 3845724"/>
              <a:gd name="connsiteY6" fmla="*/ 3845725 h 3845725"/>
              <a:gd name="connsiteX7" fmla="*/ 0 w 3845724"/>
              <a:gd name="connsiteY7" fmla="*/ 3204758 h 3845725"/>
              <a:gd name="connsiteX8" fmla="*/ 0 w 3845724"/>
              <a:gd name="connsiteY8" fmla="*/ 640967 h 3845725"/>
              <a:gd name="connsiteX0" fmla="*/ 0 w 3845724"/>
              <a:gd name="connsiteY0" fmla="*/ 857280 h 4062038"/>
              <a:gd name="connsiteX1" fmla="*/ 640967 w 3845724"/>
              <a:gd name="connsiteY1" fmla="*/ 216313 h 4062038"/>
              <a:gd name="connsiteX2" fmla="*/ 3204757 w 3845724"/>
              <a:gd name="connsiteY2" fmla="*/ 216313 h 4062038"/>
              <a:gd name="connsiteX3" fmla="*/ 3834149 w 3845724"/>
              <a:gd name="connsiteY3" fmla="*/ 139650 h 4062038"/>
              <a:gd name="connsiteX4" fmla="*/ 3845724 w 3845724"/>
              <a:gd name="connsiteY4" fmla="*/ 3421071 h 4062038"/>
              <a:gd name="connsiteX5" fmla="*/ 3204757 w 3845724"/>
              <a:gd name="connsiteY5" fmla="*/ 4062038 h 4062038"/>
              <a:gd name="connsiteX6" fmla="*/ 640967 w 3845724"/>
              <a:gd name="connsiteY6" fmla="*/ 4062038 h 4062038"/>
              <a:gd name="connsiteX7" fmla="*/ 0 w 3845724"/>
              <a:gd name="connsiteY7" fmla="*/ 3421071 h 4062038"/>
              <a:gd name="connsiteX8" fmla="*/ 0 w 3845724"/>
              <a:gd name="connsiteY8" fmla="*/ 857280 h 4062038"/>
              <a:gd name="connsiteX0" fmla="*/ 0 w 3845724"/>
              <a:gd name="connsiteY0" fmla="*/ 721769 h 3926527"/>
              <a:gd name="connsiteX1" fmla="*/ 640967 w 3845724"/>
              <a:gd name="connsiteY1" fmla="*/ 80802 h 3926527"/>
              <a:gd name="connsiteX2" fmla="*/ 3204757 w 3845724"/>
              <a:gd name="connsiteY2" fmla="*/ 80802 h 3926527"/>
              <a:gd name="connsiteX3" fmla="*/ 3834149 w 3845724"/>
              <a:gd name="connsiteY3" fmla="*/ 4139 h 3926527"/>
              <a:gd name="connsiteX4" fmla="*/ 3845724 w 3845724"/>
              <a:gd name="connsiteY4" fmla="*/ 3285560 h 3926527"/>
              <a:gd name="connsiteX5" fmla="*/ 3204757 w 3845724"/>
              <a:gd name="connsiteY5" fmla="*/ 3926527 h 3926527"/>
              <a:gd name="connsiteX6" fmla="*/ 640967 w 3845724"/>
              <a:gd name="connsiteY6" fmla="*/ 3926527 h 3926527"/>
              <a:gd name="connsiteX7" fmla="*/ 0 w 3845724"/>
              <a:gd name="connsiteY7" fmla="*/ 3285560 h 3926527"/>
              <a:gd name="connsiteX8" fmla="*/ 0 w 3845724"/>
              <a:gd name="connsiteY8" fmla="*/ 721769 h 3926527"/>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 name="connsiteX0" fmla="*/ 0 w 4071381"/>
              <a:gd name="connsiteY0" fmla="*/ 640967 h 3845725"/>
              <a:gd name="connsiteX1" fmla="*/ 640967 w 4071381"/>
              <a:gd name="connsiteY1" fmla="*/ 0 h 3845725"/>
              <a:gd name="connsiteX2" fmla="*/ 3829790 w 4071381"/>
              <a:gd name="connsiteY2" fmla="*/ 0 h 3845725"/>
              <a:gd name="connsiteX3" fmla="*/ 3845724 w 4071381"/>
              <a:gd name="connsiteY3" fmla="*/ 3204758 h 3845725"/>
              <a:gd name="connsiteX4" fmla="*/ 3204757 w 4071381"/>
              <a:gd name="connsiteY4" fmla="*/ 3845725 h 3845725"/>
              <a:gd name="connsiteX5" fmla="*/ 640967 w 4071381"/>
              <a:gd name="connsiteY5" fmla="*/ 3845725 h 3845725"/>
              <a:gd name="connsiteX6" fmla="*/ 0 w 4071381"/>
              <a:gd name="connsiteY6" fmla="*/ 3204758 h 3845725"/>
              <a:gd name="connsiteX7" fmla="*/ 0 w 4071381"/>
              <a:gd name="connsiteY7" fmla="*/ 640967 h 3845725"/>
              <a:gd name="connsiteX0" fmla="*/ 0 w 3845724"/>
              <a:gd name="connsiteY0" fmla="*/ 640967 h 3845725"/>
              <a:gd name="connsiteX1" fmla="*/ 640967 w 3845724"/>
              <a:gd name="connsiteY1" fmla="*/ 0 h 3845725"/>
              <a:gd name="connsiteX2" fmla="*/ 3829790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5724" h="3845725">
                <a:moveTo>
                  <a:pt x="0" y="640967"/>
                </a:moveTo>
                <a:cubicBezTo>
                  <a:pt x="0" y="286971"/>
                  <a:pt x="286971" y="0"/>
                  <a:pt x="640967" y="0"/>
                </a:cubicBezTo>
                <a:lnTo>
                  <a:pt x="3829790" y="0"/>
                </a:lnTo>
                <a:cubicBezTo>
                  <a:pt x="3819906" y="1690"/>
                  <a:pt x="3845724" y="2563804"/>
                  <a:pt x="3845724" y="3204758"/>
                </a:cubicBezTo>
                <a:cubicBezTo>
                  <a:pt x="3845724" y="3558754"/>
                  <a:pt x="3558753" y="3845725"/>
                  <a:pt x="3204757" y="3845725"/>
                </a:cubicBezTo>
                <a:lnTo>
                  <a:pt x="640967" y="3845725"/>
                </a:lnTo>
                <a:cubicBezTo>
                  <a:pt x="286971" y="3845725"/>
                  <a:pt x="0" y="3558754"/>
                  <a:pt x="0" y="3204758"/>
                </a:cubicBezTo>
                <a:lnTo>
                  <a:pt x="0" y="640967"/>
                </a:lnTo>
                <a:close/>
              </a:path>
            </a:pathLst>
          </a:custGeom>
          <a:solidFill>
            <a:schemeClr val="bg2">
              <a:lumMod val="95000"/>
            </a:schemeClr>
          </a:solidFill>
          <a:ln>
            <a:noFill/>
          </a:ln>
        </p:spPr>
        <p:style>
          <a:lnRef idx="2">
            <a:schemeClr val="accent1"/>
          </a:lnRef>
          <a:fillRef idx="1">
            <a:schemeClr val="lt1"/>
          </a:fillRef>
          <a:effectRef idx="0">
            <a:schemeClr val="accent1"/>
          </a:effectRef>
          <a:fontRef idx="minor">
            <a:schemeClr val="dk1"/>
          </a:fontRef>
        </p:style>
        <p:txBody>
          <a:bodyPr/>
          <a:lstStyle>
            <a:lvl1pPr marL="0" indent="0" algn="ctr">
              <a:buFontTx/>
              <a:buNone/>
              <a:defRPr sz="1400"/>
            </a:lvl1pPr>
          </a:lstStyle>
          <a:p>
            <a:r>
              <a:rPr lang="de-DE"/>
              <a:t>Bild einfügen</a:t>
            </a:r>
          </a:p>
        </p:txBody>
      </p:sp>
      <p:sp>
        <p:nvSpPr>
          <p:cNvPr id="11" name="Bildplatzhalter 18">
            <a:extLst>
              <a:ext uri="{FF2B5EF4-FFF2-40B4-BE49-F238E27FC236}">
                <a16:creationId xmlns:a16="http://schemas.microsoft.com/office/drawing/2014/main" id="{5E3AA0A6-7686-4F45-B1FE-AA7E7D76D0C8}"/>
              </a:ext>
            </a:extLst>
          </p:cNvPr>
          <p:cNvSpPr>
            <a:spLocks noGrp="1"/>
          </p:cNvSpPr>
          <p:nvPr>
            <p:ph type="pic" sz="quarter" idx="16" hasCustomPrompt="1"/>
          </p:nvPr>
        </p:nvSpPr>
        <p:spPr>
          <a:xfrm>
            <a:off x="516828" y="2683102"/>
            <a:ext cx="2603601" cy="2603602"/>
          </a:xfrm>
          <a:custGeom>
            <a:avLst/>
            <a:gdLst>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640967 h 3845725"/>
              <a:gd name="connsiteX4" fmla="*/ 3845724 w 3845724"/>
              <a:gd name="connsiteY4" fmla="*/ 3204758 h 3845725"/>
              <a:gd name="connsiteX5" fmla="*/ 3204757 w 3845724"/>
              <a:gd name="connsiteY5" fmla="*/ 3845725 h 3845725"/>
              <a:gd name="connsiteX6" fmla="*/ 640967 w 3845724"/>
              <a:gd name="connsiteY6" fmla="*/ 3845725 h 3845725"/>
              <a:gd name="connsiteX7" fmla="*/ 0 w 3845724"/>
              <a:gd name="connsiteY7" fmla="*/ 3204758 h 3845725"/>
              <a:gd name="connsiteX8" fmla="*/ 0 w 3845724"/>
              <a:gd name="connsiteY8" fmla="*/ 640967 h 3845725"/>
              <a:gd name="connsiteX0" fmla="*/ 0 w 3845724"/>
              <a:gd name="connsiteY0" fmla="*/ 857280 h 4062038"/>
              <a:gd name="connsiteX1" fmla="*/ 640967 w 3845724"/>
              <a:gd name="connsiteY1" fmla="*/ 216313 h 4062038"/>
              <a:gd name="connsiteX2" fmla="*/ 3204757 w 3845724"/>
              <a:gd name="connsiteY2" fmla="*/ 216313 h 4062038"/>
              <a:gd name="connsiteX3" fmla="*/ 3834149 w 3845724"/>
              <a:gd name="connsiteY3" fmla="*/ 139650 h 4062038"/>
              <a:gd name="connsiteX4" fmla="*/ 3845724 w 3845724"/>
              <a:gd name="connsiteY4" fmla="*/ 3421071 h 4062038"/>
              <a:gd name="connsiteX5" fmla="*/ 3204757 w 3845724"/>
              <a:gd name="connsiteY5" fmla="*/ 4062038 h 4062038"/>
              <a:gd name="connsiteX6" fmla="*/ 640967 w 3845724"/>
              <a:gd name="connsiteY6" fmla="*/ 4062038 h 4062038"/>
              <a:gd name="connsiteX7" fmla="*/ 0 w 3845724"/>
              <a:gd name="connsiteY7" fmla="*/ 3421071 h 4062038"/>
              <a:gd name="connsiteX8" fmla="*/ 0 w 3845724"/>
              <a:gd name="connsiteY8" fmla="*/ 857280 h 4062038"/>
              <a:gd name="connsiteX0" fmla="*/ 0 w 3845724"/>
              <a:gd name="connsiteY0" fmla="*/ 721769 h 3926527"/>
              <a:gd name="connsiteX1" fmla="*/ 640967 w 3845724"/>
              <a:gd name="connsiteY1" fmla="*/ 80802 h 3926527"/>
              <a:gd name="connsiteX2" fmla="*/ 3204757 w 3845724"/>
              <a:gd name="connsiteY2" fmla="*/ 80802 h 3926527"/>
              <a:gd name="connsiteX3" fmla="*/ 3834149 w 3845724"/>
              <a:gd name="connsiteY3" fmla="*/ 4139 h 3926527"/>
              <a:gd name="connsiteX4" fmla="*/ 3845724 w 3845724"/>
              <a:gd name="connsiteY4" fmla="*/ 3285560 h 3926527"/>
              <a:gd name="connsiteX5" fmla="*/ 3204757 w 3845724"/>
              <a:gd name="connsiteY5" fmla="*/ 3926527 h 3926527"/>
              <a:gd name="connsiteX6" fmla="*/ 640967 w 3845724"/>
              <a:gd name="connsiteY6" fmla="*/ 3926527 h 3926527"/>
              <a:gd name="connsiteX7" fmla="*/ 0 w 3845724"/>
              <a:gd name="connsiteY7" fmla="*/ 3285560 h 3926527"/>
              <a:gd name="connsiteX8" fmla="*/ 0 w 3845724"/>
              <a:gd name="connsiteY8" fmla="*/ 721769 h 3926527"/>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 name="connsiteX0" fmla="*/ 0 w 4071381"/>
              <a:gd name="connsiteY0" fmla="*/ 640967 h 3845725"/>
              <a:gd name="connsiteX1" fmla="*/ 640967 w 4071381"/>
              <a:gd name="connsiteY1" fmla="*/ 0 h 3845725"/>
              <a:gd name="connsiteX2" fmla="*/ 3829790 w 4071381"/>
              <a:gd name="connsiteY2" fmla="*/ 0 h 3845725"/>
              <a:gd name="connsiteX3" fmla="*/ 3845724 w 4071381"/>
              <a:gd name="connsiteY3" fmla="*/ 3204758 h 3845725"/>
              <a:gd name="connsiteX4" fmla="*/ 3204757 w 4071381"/>
              <a:gd name="connsiteY4" fmla="*/ 3845725 h 3845725"/>
              <a:gd name="connsiteX5" fmla="*/ 640967 w 4071381"/>
              <a:gd name="connsiteY5" fmla="*/ 3845725 h 3845725"/>
              <a:gd name="connsiteX6" fmla="*/ 0 w 4071381"/>
              <a:gd name="connsiteY6" fmla="*/ 3204758 h 3845725"/>
              <a:gd name="connsiteX7" fmla="*/ 0 w 4071381"/>
              <a:gd name="connsiteY7" fmla="*/ 640967 h 3845725"/>
              <a:gd name="connsiteX0" fmla="*/ 0 w 3845724"/>
              <a:gd name="connsiteY0" fmla="*/ 640967 h 3845725"/>
              <a:gd name="connsiteX1" fmla="*/ 640967 w 3845724"/>
              <a:gd name="connsiteY1" fmla="*/ 0 h 3845725"/>
              <a:gd name="connsiteX2" fmla="*/ 3829790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5724" h="3845725">
                <a:moveTo>
                  <a:pt x="0" y="640967"/>
                </a:moveTo>
                <a:cubicBezTo>
                  <a:pt x="0" y="286971"/>
                  <a:pt x="286971" y="0"/>
                  <a:pt x="640967" y="0"/>
                </a:cubicBezTo>
                <a:lnTo>
                  <a:pt x="3829790" y="0"/>
                </a:lnTo>
                <a:cubicBezTo>
                  <a:pt x="3819906" y="1690"/>
                  <a:pt x="3845724" y="2563804"/>
                  <a:pt x="3845724" y="3204758"/>
                </a:cubicBezTo>
                <a:cubicBezTo>
                  <a:pt x="3845724" y="3558754"/>
                  <a:pt x="3558753" y="3845725"/>
                  <a:pt x="3204757" y="3845725"/>
                </a:cubicBezTo>
                <a:lnTo>
                  <a:pt x="640967" y="3845725"/>
                </a:lnTo>
                <a:cubicBezTo>
                  <a:pt x="286971" y="3845725"/>
                  <a:pt x="0" y="3558754"/>
                  <a:pt x="0" y="3204758"/>
                </a:cubicBezTo>
                <a:lnTo>
                  <a:pt x="0" y="640967"/>
                </a:lnTo>
                <a:close/>
              </a:path>
            </a:pathLst>
          </a:custGeom>
          <a:solidFill>
            <a:schemeClr val="bg2">
              <a:lumMod val="95000"/>
            </a:schemeClr>
          </a:solidFill>
          <a:ln>
            <a:noFill/>
          </a:ln>
        </p:spPr>
        <p:style>
          <a:lnRef idx="2">
            <a:schemeClr val="accent1"/>
          </a:lnRef>
          <a:fillRef idx="1">
            <a:schemeClr val="lt1"/>
          </a:fillRef>
          <a:effectRef idx="0">
            <a:schemeClr val="accent1"/>
          </a:effectRef>
          <a:fontRef idx="minor">
            <a:schemeClr val="dk1"/>
          </a:fontRef>
        </p:style>
        <p:txBody>
          <a:bodyPr/>
          <a:lstStyle>
            <a:lvl1pPr marL="0" indent="0" algn="ctr">
              <a:buFontTx/>
              <a:buNone/>
              <a:defRPr sz="1400"/>
            </a:lvl1pPr>
          </a:lstStyle>
          <a:p>
            <a:r>
              <a:rPr lang="de-DE"/>
              <a:t>Bild einfügen</a:t>
            </a:r>
          </a:p>
        </p:txBody>
      </p:sp>
    </p:spTree>
    <p:extLst>
      <p:ext uri="{BB962C8B-B14F-4D97-AF65-F5344CB8AC3E}">
        <p14:creationId xmlns:p14="http://schemas.microsoft.com/office/powerpoint/2010/main" val="3370702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Bilder">
    <p:spTree>
      <p:nvGrpSpPr>
        <p:cNvPr id="1" name=""/>
        <p:cNvGrpSpPr/>
        <p:nvPr/>
      </p:nvGrpSpPr>
      <p:grpSpPr>
        <a:xfrm>
          <a:off x="0" y="0"/>
          <a:ext cx="0" cy="0"/>
          <a:chOff x="0" y="0"/>
          <a:chExt cx="0" cy="0"/>
        </a:xfrm>
      </p:grpSpPr>
      <p:sp>
        <p:nvSpPr>
          <p:cNvPr id="9" name="Bildplatzhalter 18">
            <a:extLst>
              <a:ext uri="{FF2B5EF4-FFF2-40B4-BE49-F238E27FC236}">
                <a16:creationId xmlns:a16="http://schemas.microsoft.com/office/drawing/2014/main" id="{F6A8806D-17AB-7944-BBD6-F2576D768280}"/>
              </a:ext>
            </a:extLst>
          </p:cNvPr>
          <p:cNvSpPr>
            <a:spLocks noGrp="1"/>
          </p:cNvSpPr>
          <p:nvPr>
            <p:ph type="pic" sz="quarter" idx="14" hasCustomPrompt="1"/>
          </p:nvPr>
        </p:nvSpPr>
        <p:spPr>
          <a:xfrm>
            <a:off x="3787928" y="670560"/>
            <a:ext cx="4616143" cy="4616144"/>
          </a:xfrm>
          <a:custGeom>
            <a:avLst/>
            <a:gdLst>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640967 h 3845725"/>
              <a:gd name="connsiteX4" fmla="*/ 3845724 w 3845724"/>
              <a:gd name="connsiteY4" fmla="*/ 3204758 h 3845725"/>
              <a:gd name="connsiteX5" fmla="*/ 3204757 w 3845724"/>
              <a:gd name="connsiteY5" fmla="*/ 3845725 h 3845725"/>
              <a:gd name="connsiteX6" fmla="*/ 640967 w 3845724"/>
              <a:gd name="connsiteY6" fmla="*/ 3845725 h 3845725"/>
              <a:gd name="connsiteX7" fmla="*/ 0 w 3845724"/>
              <a:gd name="connsiteY7" fmla="*/ 3204758 h 3845725"/>
              <a:gd name="connsiteX8" fmla="*/ 0 w 3845724"/>
              <a:gd name="connsiteY8" fmla="*/ 640967 h 3845725"/>
              <a:gd name="connsiteX0" fmla="*/ 0 w 3845724"/>
              <a:gd name="connsiteY0" fmla="*/ 857280 h 4062038"/>
              <a:gd name="connsiteX1" fmla="*/ 640967 w 3845724"/>
              <a:gd name="connsiteY1" fmla="*/ 216313 h 4062038"/>
              <a:gd name="connsiteX2" fmla="*/ 3204757 w 3845724"/>
              <a:gd name="connsiteY2" fmla="*/ 216313 h 4062038"/>
              <a:gd name="connsiteX3" fmla="*/ 3834149 w 3845724"/>
              <a:gd name="connsiteY3" fmla="*/ 139650 h 4062038"/>
              <a:gd name="connsiteX4" fmla="*/ 3845724 w 3845724"/>
              <a:gd name="connsiteY4" fmla="*/ 3421071 h 4062038"/>
              <a:gd name="connsiteX5" fmla="*/ 3204757 w 3845724"/>
              <a:gd name="connsiteY5" fmla="*/ 4062038 h 4062038"/>
              <a:gd name="connsiteX6" fmla="*/ 640967 w 3845724"/>
              <a:gd name="connsiteY6" fmla="*/ 4062038 h 4062038"/>
              <a:gd name="connsiteX7" fmla="*/ 0 w 3845724"/>
              <a:gd name="connsiteY7" fmla="*/ 3421071 h 4062038"/>
              <a:gd name="connsiteX8" fmla="*/ 0 w 3845724"/>
              <a:gd name="connsiteY8" fmla="*/ 857280 h 4062038"/>
              <a:gd name="connsiteX0" fmla="*/ 0 w 3845724"/>
              <a:gd name="connsiteY0" fmla="*/ 721769 h 3926527"/>
              <a:gd name="connsiteX1" fmla="*/ 640967 w 3845724"/>
              <a:gd name="connsiteY1" fmla="*/ 80802 h 3926527"/>
              <a:gd name="connsiteX2" fmla="*/ 3204757 w 3845724"/>
              <a:gd name="connsiteY2" fmla="*/ 80802 h 3926527"/>
              <a:gd name="connsiteX3" fmla="*/ 3834149 w 3845724"/>
              <a:gd name="connsiteY3" fmla="*/ 4139 h 3926527"/>
              <a:gd name="connsiteX4" fmla="*/ 3845724 w 3845724"/>
              <a:gd name="connsiteY4" fmla="*/ 3285560 h 3926527"/>
              <a:gd name="connsiteX5" fmla="*/ 3204757 w 3845724"/>
              <a:gd name="connsiteY5" fmla="*/ 3926527 h 3926527"/>
              <a:gd name="connsiteX6" fmla="*/ 640967 w 3845724"/>
              <a:gd name="connsiteY6" fmla="*/ 3926527 h 3926527"/>
              <a:gd name="connsiteX7" fmla="*/ 0 w 3845724"/>
              <a:gd name="connsiteY7" fmla="*/ 3285560 h 3926527"/>
              <a:gd name="connsiteX8" fmla="*/ 0 w 3845724"/>
              <a:gd name="connsiteY8" fmla="*/ 721769 h 3926527"/>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 name="connsiteX0" fmla="*/ 0 w 4071381"/>
              <a:gd name="connsiteY0" fmla="*/ 640967 h 3845725"/>
              <a:gd name="connsiteX1" fmla="*/ 640967 w 4071381"/>
              <a:gd name="connsiteY1" fmla="*/ 0 h 3845725"/>
              <a:gd name="connsiteX2" fmla="*/ 3829790 w 4071381"/>
              <a:gd name="connsiteY2" fmla="*/ 0 h 3845725"/>
              <a:gd name="connsiteX3" fmla="*/ 3845724 w 4071381"/>
              <a:gd name="connsiteY3" fmla="*/ 3204758 h 3845725"/>
              <a:gd name="connsiteX4" fmla="*/ 3204757 w 4071381"/>
              <a:gd name="connsiteY4" fmla="*/ 3845725 h 3845725"/>
              <a:gd name="connsiteX5" fmla="*/ 640967 w 4071381"/>
              <a:gd name="connsiteY5" fmla="*/ 3845725 h 3845725"/>
              <a:gd name="connsiteX6" fmla="*/ 0 w 4071381"/>
              <a:gd name="connsiteY6" fmla="*/ 3204758 h 3845725"/>
              <a:gd name="connsiteX7" fmla="*/ 0 w 4071381"/>
              <a:gd name="connsiteY7" fmla="*/ 640967 h 3845725"/>
              <a:gd name="connsiteX0" fmla="*/ 0 w 3845724"/>
              <a:gd name="connsiteY0" fmla="*/ 640967 h 3845725"/>
              <a:gd name="connsiteX1" fmla="*/ 640967 w 3845724"/>
              <a:gd name="connsiteY1" fmla="*/ 0 h 3845725"/>
              <a:gd name="connsiteX2" fmla="*/ 3829790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5724" h="3845725">
                <a:moveTo>
                  <a:pt x="0" y="640967"/>
                </a:moveTo>
                <a:cubicBezTo>
                  <a:pt x="0" y="286971"/>
                  <a:pt x="286971" y="0"/>
                  <a:pt x="640967" y="0"/>
                </a:cubicBezTo>
                <a:lnTo>
                  <a:pt x="3829790" y="0"/>
                </a:lnTo>
                <a:cubicBezTo>
                  <a:pt x="3819906" y="1690"/>
                  <a:pt x="3845724" y="2563804"/>
                  <a:pt x="3845724" y="3204758"/>
                </a:cubicBezTo>
                <a:cubicBezTo>
                  <a:pt x="3845724" y="3558754"/>
                  <a:pt x="3558753" y="3845725"/>
                  <a:pt x="3204757" y="3845725"/>
                </a:cubicBezTo>
                <a:lnTo>
                  <a:pt x="640967" y="3845725"/>
                </a:lnTo>
                <a:cubicBezTo>
                  <a:pt x="286971" y="3845725"/>
                  <a:pt x="0" y="3558754"/>
                  <a:pt x="0" y="3204758"/>
                </a:cubicBezTo>
                <a:lnTo>
                  <a:pt x="0" y="640967"/>
                </a:lnTo>
                <a:close/>
              </a:path>
            </a:pathLst>
          </a:custGeom>
          <a:solidFill>
            <a:schemeClr val="bg2">
              <a:lumMod val="95000"/>
            </a:schemeClr>
          </a:solidFill>
          <a:ln>
            <a:noFill/>
          </a:ln>
        </p:spPr>
        <p:style>
          <a:lnRef idx="2">
            <a:schemeClr val="accent1"/>
          </a:lnRef>
          <a:fillRef idx="1">
            <a:schemeClr val="lt1"/>
          </a:fillRef>
          <a:effectRef idx="0">
            <a:schemeClr val="accent1"/>
          </a:effectRef>
          <a:fontRef idx="minor">
            <a:schemeClr val="dk1"/>
          </a:fontRef>
        </p:style>
        <p:txBody>
          <a:bodyPr/>
          <a:lstStyle>
            <a:lvl1pPr marL="0" indent="0" algn="ctr">
              <a:buFontTx/>
              <a:buNone/>
              <a:defRPr sz="1400"/>
            </a:lvl1pPr>
          </a:lstStyle>
          <a:p>
            <a:r>
              <a:rPr lang="de-DE"/>
              <a:t>Bild einfügen</a:t>
            </a:r>
          </a:p>
        </p:txBody>
      </p:sp>
      <p:sp>
        <p:nvSpPr>
          <p:cNvPr id="16" name="Bildplatzhalter 18">
            <a:extLst>
              <a:ext uri="{FF2B5EF4-FFF2-40B4-BE49-F238E27FC236}">
                <a16:creationId xmlns:a16="http://schemas.microsoft.com/office/drawing/2014/main" id="{942E05CB-E7AB-D64B-8FBE-1238275E81B4}"/>
              </a:ext>
            </a:extLst>
          </p:cNvPr>
          <p:cNvSpPr>
            <a:spLocks noGrp="1"/>
          </p:cNvSpPr>
          <p:nvPr>
            <p:ph type="pic" sz="quarter" idx="17" hasCustomPrompt="1"/>
          </p:nvPr>
        </p:nvSpPr>
        <p:spPr>
          <a:xfrm>
            <a:off x="487678" y="2339682"/>
            <a:ext cx="2947022" cy="2947022"/>
          </a:xfrm>
          <a:custGeom>
            <a:avLst/>
            <a:gdLst>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640967 h 3845725"/>
              <a:gd name="connsiteX4" fmla="*/ 3845724 w 3845724"/>
              <a:gd name="connsiteY4" fmla="*/ 3204758 h 3845725"/>
              <a:gd name="connsiteX5" fmla="*/ 3204757 w 3845724"/>
              <a:gd name="connsiteY5" fmla="*/ 3845725 h 3845725"/>
              <a:gd name="connsiteX6" fmla="*/ 640967 w 3845724"/>
              <a:gd name="connsiteY6" fmla="*/ 3845725 h 3845725"/>
              <a:gd name="connsiteX7" fmla="*/ 0 w 3845724"/>
              <a:gd name="connsiteY7" fmla="*/ 3204758 h 3845725"/>
              <a:gd name="connsiteX8" fmla="*/ 0 w 3845724"/>
              <a:gd name="connsiteY8" fmla="*/ 640967 h 3845725"/>
              <a:gd name="connsiteX0" fmla="*/ 0 w 3845724"/>
              <a:gd name="connsiteY0" fmla="*/ 857280 h 4062038"/>
              <a:gd name="connsiteX1" fmla="*/ 640967 w 3845724"/>
              <a:gd name="connsiteY1" fmla="*/ 216313 h 4062038"/>
              <a:gd name="connsiteX2" fmla="*/ 3204757 w 3845724"/>
              <a:gd name="connsiteY2" fmla="*/ 216313 h 4062038"/>
              <a:gd name="connsiteX3" fmla="*/ 3834149 w 3845724"/>
              <a:gd name="connsiteY3" fmla="*/ 139650 h 4062038"/>
              <a:gd name="connsiteX4" fmla="*/ 3845724 w 3845724"/>
              <a:gd name="connsiteY4" fmla="*/ 3421071 h 4062038"/>
              <a:gd name="connsiteX5" fmla="*/ 3204757 w 3845724"/>
              <a:gd name="connsiteY5" fmla="*/ 4062038 h 4062038"/>
              <a:gd name="connsiteX6" fmla="*/ 640967 w 3845724"/>
              <a:gd name="connsiteY6" fmla="*/ 4062038 h 4062038"/>
              <a:gd name="connsiteX7" fmla="*/ 0 w 3845724"/>
              <a:gd name="connsiteY7" fmla="*/ 3421071 h 4062038"/>
              <a:gd name="connsiteX8" fmla="*/ 0 w 3845724"/>
              <a:gd name="connsiteY8" fmla="*/ 857280 h 4062038"/>
              <a:gd name="connsiteX0" fmla="*/ 0 w 3845724"/>
              <a:gd name="connsiteY0" fmla="*/ 721769 h 3926527"/>
              <a:gd name="connsiteX1" fmla="*/ 640967 w 3845724"/>
              <a:gd name="connsiteY1" fmla="*/ 80802 h 3926527"/>
              <a:gd name="connsiteX2" fmla="*/ 3204757 w 3845724"/>
              <a:gd name="connsiteY2" fmla="*/ 80802 h 3926527"/>
              <a:gd name="connsiteX3" fmla="*/ 3834149 w 3845724"/>
              <a:gd name="connsiteY3" fmla="*/ 4139 h 3926527"/>
              <a:gd name="connsiteX4" fmla="*/ 3845724 w 3845724"/>
              <a:gd name="connsiteY4" fmla="*/ 3285560 h 3926527"/>
              <a:gd name="connsiteX5" fmla="*/ 3204757 w 3845724"/>
              <a:gd name="connsiteY5" fmla="*/ 3926527 h 3926527"/>
              <a:gd name="connsiteX6" fmla="*/ 640967 w 3845724"/>
              <a:gd name="connsiteY6" fmla="*/ 3926527 h 3926527"/>
              <a:gd name="connsiteX7" fmla="*/ 0 w 3845724"/>
              <a:gd name="connsiteY7" fmla="*/ 3285560 h 3926527"/>
              <a:gd name="connsiteX8" fmla="*/ 0 w 3845724"/>
              <a:gd name="connsiteY8" fmla="*/ 721769 h 3926527"/>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 name="connsiteX0" fmla="*/ 0 w 4071381"/>
              <a:gd name="connsiteY0" fmla="*/ 640967 h 3845725"/>
              <a:gd name="connsiteX1" fmla="*/ 640967 w 4071381"/>
              <a:gd name="connsiteY1" fmla="*/ 0 h 3845725"/>
              <a:gd name="connsiteX2" fmla="*/ 3829790 w 4071381"/>
              <a:gd name="connsiteY2" fmla="*/ 0 h 3845725"/>
              <a:gd name="connsiteX3" fmla="*/ 3845724 w 4071381"/>
              <a:gd name="connsiteY3" fmla="*/ 3204758 h 3845725"/>
              <a:gd name="connsiteX4" fmla="*/ 3204757 w 4071381"/>
              <a:gd name="connsiteY4" fmla="*/ 3845725 h 3845725"/>
              <a:gd name="connsiteX5" fmla="*/ 640967 w 4071381"/>
              <a:gd name="connsiteY5" fmla="*/ 3845725 h 3845725"/>
              <a:gd name="connsiteX6" fmla="*/ 0 w 4071381"/>
              <a:gd name="connsiteY6" fmla="*/ 3204758 h 3845725"/>
              <a:gd name="connsiteX7" fmla="*/ 0 w 4071381"/>
              <a:gd name="connsiteY7" fmla="*/ 640967 h 3845725"/>
              <a:gd name="connsiteX0" fmla="*/ 0 w 3845724"/>
              <a:gd name="connsiteY0" fmla="*/ 640967 h 3845725"/>
              <a:gd name="connsiteX1" fmla="*/ 640967 w 3845724"/>
              <a:gd name="connsiteY1" fmla="*/ 0 h 3845725"/>
              <a:gd name="connsiteX2" fmla="*/ 3829790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5724" h="3845725">
                <a:moveTo>
                  <a:pt x="0" y="640967"/>
                </a:moveTo>
                <a:cubicBezTo>
                  <a:pt x="0" y="286971"/>
                  <a:pt x="286971" y="0"/>
                  <a:pt x="640967" y="0"/>
                </a:cubicBezTo>
                <a:lnTo>
                  <a:pt x="3829790" y="0"/>
                </a:lnTo>
                <a:cubicBezTo>
                  <a:pt x="3819906" y="1690"/>
                  <a:pt x="3845724" y="2563804"/>
                  <a:pt x="3845724" y="3204758"/>
                </a:cubicBezTo>
                <a:cubicBezTo>
                  <a:pt x="3845724" y="3558754"/>
                  <a:pt x="3558753" y="3845725"/>
                  <a:pt x="3204757" y="3845725"/>
                </a:cubicBezTo>
                <a:lnTo>
                  <a:pt x="640967" y="3845725"/>
                </a:lnTo>
                <a:cubicBezTo>
                  <a:pt x="286971" y="3845725"/>
                  <a:pt x="0" y="3558754"/>
                  <a:pt x="0" y="3204758"/>
                </a:cubicBezTo>
                <a:lnTo>
                  <a:pt x="0" y="640967"/>
                </a:lnTo>
                <a:close/>
              </a:path>
            </a:pathLst>
          </a:custGeom>
          <a:solidFill>
            <a:schemeClr val="bg2">
              <a:lumMod val="95000"/>
            </a:schemeClr>
          </a:solidFill>
          <a:ln>
            <a:noFill/>
          </a:ln>
        </p:spPr>
        <p:style>
          <a:lnRef idx="2">
            <a:schemeClr val="accent1"/>
          </a:lnRef>
          <a:fillRef idx="1">
            <a:schemeClr val="lt1"/>
          </a:fillRef>
          <a:effectRef idx="0">
            <a:schemeClr val="accent1"/>
          </a:effectRef>
          <a:fontRef idx="minor">
            <a:schemeClr val="dk1"/>
          </a:fontRef>
        </p:style>
        <p:txBody>
          <a:bodyPr/>
          <a:lstStyle>
            <a:lvl1pPr marL="0" indent="0" algn="ctr">
              <a:buFontTx/>
              <a:buNone/>
              <a:defRPr sz="1400"/>
            </a:lvl1pPr>
          </a:lstStyle>
          <a:p>
            <a:r>
              <a:rPr lang="de-DE"/>
              <a:t>Bild einfügen</a:t>
            </a:r>
          </a:p>
        </p:txBody>
      </p:sp>
      <p:sp>
        <p:nvSpPr>
          <p:cNvPr id="20" name="Fußzeilenplatzhalter 5">
            <a:extLst>
              <a:ext uri="{FF2B5EF4-FFF2-40B4-BE49-F238E27FC236}">
                <a16:creationId xmlns:a16="http://schemas.microsoft.com/office/drawing/2014/main" id="{A9306804-E704-B04C-A695-F7F28114D8A6}"/>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25" name="Foliennummernplatzhalter 6">
            <a:extLst>
              <a:ext uri="{FF2B5EF4-FFF2-40B4-BE49-F238E27FC236}">
                <a16:creationId xmlns:a16="http://schemas.microsoft.com/office/drawing/2014/main" id="{78224F2B-83FF-C749-B5B3-2E60E11383BC}"/>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26" name="Date Placeholder 3">
            <a:extLst>
              <a:ext uri="{FF2B5EF4-FFF2-40B4-BE49-F238E27FC236}">
                <a16:creationId xmlns:a16="http://schemas.microsoft.com/office/drawing/2014/main" id="{3428F950-E080-CD49-A9ED-9540BD0017B1}"/>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
        <p:nvSpPr>
          <p:cNvPr id="28" name="Bildplatzhalter 18">
            <a:extLst>
              <a:ext uri="{FF2B5EF4-FFF2-40B4-BE49-F238E27FC236}">
                <a16:creationId xmlns:a16="http://schemas.microsoft.com/office/drawing/2014/main" id="{AF65C9D2-E128-A84A-AAFD-3363BB4FAAEE}"/>
              </a:ext>
            </a:extLst>
          </p:cNvPr>
          <p:cNvSpPr>
            <a:spLocks noGrp="1"/>
          </p:cNvSpPr>
          <p:nvPr>
            <p:ph type="pic" sz="quarter" idx="18" hasCustomPrompt="1"/>
          </p:nvPr>
        </p:nvSpPr>
        <p:spPr>
          <a:xfrm>
            <a:off x="8757299" y="2339682"/>
            <a:ext cx="2947022" cy="2947022"/>
          </a:xfrm>
          <a:custGeom>
            <a:avLst/>
            <a:gdLst>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640967 h 3845725"/>
              <a:gd name="connsiteX4" fmla="*/ 3845724 w 3845724"/>
              <a:gd name="connsiteY4" fmla="*/ 3204758 h 3845725"/>
              <a:gd name="connsiteX5" fmla="*/ 3204757 w 3845724"/>
              <a:gd name="connsiteY5" fmla="*/ 3845725 h 3845725"/>
              <a:gd name="connsiteX6" fmla="*/ 640967 w 3845724"/>
              <a:gd name="connsiteY6" fmla="*/ 3845725 h 3845725"/>
              <a:gd name="connsiteX7" fmla="*/ 0 w 3845724"/>
              <a:gd name="connsiteY7" fmla="*/ 3204758 h 3845725"/>
              <a:gd name="connsiteX8" fmla="*/ 0 w 3845724"/>
              <a:gd name="connsiteY8" fmla="*/ 640967 h 3845725"/>
              <a:gd name="connsiteX0" fmla="*/ 0 w 3845724"/>
              <a:gd name="connsiteY0" fmla="*/ 857280 h 4062038"/>
              <a:gd name="connsiteX1" fmla="*/ 640967 w 3845724"/>
              <a:gd name="connsiteY1" fmla="*/ 216313 h 4062038"/>
              <a:gd name="connsiteX2" fmla="*/ 3204757 w 3845724"/>
              <a:gd name="connsiteY2" fmla="*/ 216313 h 4062038"/>
              <a:gd name="connsiteX3" fmla="*/ 3834149 w 3845724"/>
              <a:gd name="connsiteY3" fmla="*/ 139650 h 4062038"/>
              <a:gd name="connsiteX4" fmla="*/ 3845724 w 3845724"/>
              <a:gd name="connsiteY4" fmla="*/ 3421071 h 4062038"/>
              <a:gd name="connsiteX5" fmla="*/ 3204757 w 3845724"/>
              <a:gd name="connsiteY5" fmla="*/ 4062038 h 4062038"/>
              <a:gd name="connsiteX6" fmla="*/ 640967 w 3845724"/>
              <a:gd name="connsiteY6" fmla="*/ 4062038 h 4062038"/>
              <a:gd name="connsiteX7" fmla="*/ 0 w 3845724"/>
              <a:gd name="connsiteY7" fmla="*/ 3421071 h 4062038"/>
              <a:gd name="connsiteX8" fmla="*/ 0 w 3845724"/>
              <a:gd name="connsiteY8" fmla="*/ 857280 h 4062038"/>
              <a:gd name="connsiteX0" fmla="*/ 0 w 3845724"/>
              <a:gd name="connsiteY0" fmla="*/ 721769 h 3926527"/>
              <a:gd name="connsiteX1" fmla="*/ 640967 w 3845724"/>
              <a:gd name="connsiteY1" fmla="*/ 80802 h 3926527"/>
              <a:gd name="connsiteX2" fmla="*/ 3204757 w 3845724"/>
              <a:gd name="connsiteY2" fmla="*/ 80802 h 3926527"/>
              <a:gd name="connsiteX3" fmla="*/ 3834149 w 3845724"/>
              <a:gd name="connsiteY3" fmla="*/ 4139 h 3926527"/>
              <a:gd name="connsiteX4" fmla="*/ 3845724 w 3845724"/>
              <a:gd name="connsiteY4" fmla="*/ 3285560 h 3926527"/>
              <a:gd name="connsiteX5" fmla="*/ 3204757 w 3845724"/>
              <a:gd name="connsiteY5" fmla="*/ 3926527 h 3926527"/>
              <a:gd name="connsiteX6" fmla="*/ 640967 w 3845724"/>
              <a:gd name="connsiteY6" fmla="*/ 3926527 h 3926527"/>
              <a:gd name="connsiteX7" fmla="*/ 0 w 3845724"/>
              <a:gd name="connsiteY7" fmla="*/ 3285560 h 3926527"/>
              <a:gd name="connsiteX8" fmla="*/ 0 w 3845724"/>
              <a:gd name="connsiteY8" fmla="*/ 721769 h 3926527"/>
              <a:gd name="connsiteX0" fmla="*/ 0 w 3845724"/>
              <a:gd name="connsiteY0" fmla="*/ 640967 h 3845725"/>
              <a:gd name="connsiteX1" fmla="*/ 640967 w 3845724"/>
              <a:gd name="connsiteY1" fmla="*/ 0 h 3845725"/>
              <a:gd name="connsiteX2" fmla="*/ 3204757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 name="connsiteX0" fmla="*/ 0 w 4071381"/>
              <a:gd name="connsiteY0" fmla="*/ 640967 h 3845725"/>
              <a:gd name="connsiteX1" fmla="*/ 640967 w 4071381"/>
              <a:gd name="connsiteY1" fmla="*/ 0 h 3845725"/>
              <a:gd name="connsiteX2" fmla="*/ 3829790 w 4071381"/>
              <a:gd name="connsiteY2" fmla="*/ 0 h 3845725"/>
              <a:gd name="connsiteX3" fmla="*/ 3845724 w 4071381"/>
              <a:gd name="connsiteY3" fmla="*/ 3204758 h 3845725"/>
              <a:gd name="connsiteX4" fmla="*/ 3204757 w 4071381"/>
              <a:gd name="connsiteY4" fmla="*/ 3845725 h 3845725"/>
              <a:gd name="connsiteX5" fmla="*/ 640967 w 4071381"/>
              <a:gd name="connsiteY5" fmla="*/ 3845725 h 3845725"/>
              <a:gd name="connsiteX6" fmla="*/ 0 w 4071381"/>
              <a:gd name="connsiteY6" fmla="*/ 3204758 h 3845725"/>
              <a:gd name="connsiteX7" fmla="*/ 0 w 4071381"/>
              <a:gd name="connsiteY7" fmla="*/ 640967 h 3845725"/>
              <a:gd name="connsiteX0" fmla="*/ 0 w 3845724"/>
              <a:gd name="connsiteY0" fmla="*/ 640967 h 3845725"/>
              <a:gd name="connsiteX1" fmla="*/ 640967 w 3845724"/>
              <a:gd name="connsiteY1" fmla="*/ 0 h 3845725"/>
              <a:gd name="connsiteX2" fmla="*/ 3829790 w 3845724"/>
              <a:gd name="connsiteY2" fmla="*/ 0 h 3845725"/>
              <a:gd name="connsiteX3" fmla="*/ 3845724 w 3845724"/>
              <a:gd name="connsiteY3" fmla="*/ 3204758 h 3845725"/>
              <a:gd name="connsiteX4" fmla="*/ 3204757 w 3845724"/>
              <a:gd name="connsiteY4" fmla="*/ 3845725 h 3845725"/>
              <a:gd name="connsiteX5" fmla="*/ 640967 w 3845724"/>
              <a:gd name="connsiteY5" fmla="*/ 3845725 h 3845725"/>
              <a:gd name="connsiteX6" fmla="*/ 0 w 3845724"/>
              <a:gd name="connsiteY6" fmla="*/ 3204758 h 3845725"/>
              <a:gd name="connsiteX7" fmla="*/ 0 w 3845724"/>
              <a:gd name="connsiteY7" fmla="*/ 640967 h 384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5724" h="3845725">
                <a:moveTo>
                  <a:pt x="0" y="640967"/>
                </a:moveTo>
                <a:cubicBezTo>
                  <a:pt x="0" y="286971"/>
                  <a:pt x="286971" y="0"/>
                  <a:pt x="640967" y="0"/>
                </a:cubicBezTo>
                <a:lnTo>
                  <a:pt x="3829790" y="0"/>
                </a:lnTo>
                <a:cubicBezTo>
                  <a:pt x="3819906" y="1690"/>
                  <a:pt x="3845724" y="2563804"/>
                  <a:pt x="3845724" y="3204758"/>
                </a:cubicBezTo>
                <a:cubicBezTo>
                  <a:pt x="3845724" y="3558754"/>
                  <a:pt x="3558753" y="3845725"/>
                  <a:pt x="3204757" y="3845725"/>
                </a:cubicBezTo>
                <a:lnTo>
                  <a:pt x="640967" y="3845725"/>
                </a:lnTo>
                <a:cubicBezTo>
                  <a:pt x="286971" y="3845725"/>
                  <a:pt x="0" y="3558754"/>
                  <a:pt x="0" y="3204758"/>
                </a:cubicBezTo>
                <a:lnTo>
                  <a:pt x="0" y="640967"/>
                </a:lnTo>
                <a:close/>
              </a:path>
            </a:pathLst>
          </a:custGeom>
          <a:solidFill>
            <a:schemeClr val="bg2">
              <a:lumMod val="95000"/>
            </a:schemeClr>
          </a:solidFill>
          <a:ln>
            <a:noFill/>
          </a:ln>
        </p:spPr>
        <p:style>
          <a:lnRef idx="2">
            <a:schemeClr val="accent1"/>
          </a:lnRef>
          <a:fillRef idx="1">
            <a:schemeClr val="lt1"/>
          </a:fillRef>
          <a:effectRef idx="0">
            <a:schemeClr val="accent1"/>
          </a:effectRef>
          <a:fontRef idx="minor">
            <a:schemeClr val="dk1"/>
          </a:fontRef>
        </p:style>
        <p:txBody>
          <a:bodyPr/>
          <a:lstStyle>
            <a:lvl1pPr marL="0" indent="0" algn="ctr">
              <a:buFontTx/>
              <a:buNone/>
              <a:defRPr sz="1400"/>
            </a:lvl1pPr>
          </a:lstStyle>
          <a:p>
            <a:r>
              <a:rPr lang="de-DE"/>
              <a:t>Bild einfügenw</a:t>
            </a:r>
          </a:p>
        </p:txBody>
      </p:sp>
    </p:spTree>
    <p:extLst>
      <p:ext uri="{BB962C8B-B14F-4D97-AF65-F5344CB8AC3E}">
        <p14:creationId xmlns:p14="http://schemas.microsoft.com/office/powerpoint/2010/main" val="1905451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amp; 2 Kolumnen 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949F1EB5-8735-4248-9882-71FBFA2CBB5B}"/>
              </a:ext>
            </a:extLst>
          </p:cNvPr>
          <p:cNvSpPr>
            <a:spLocks noGrp="1"/>
          </p:cNvSpPr>
          <p:nvPr>
            <p:ph sz="half" idx="1" hasCustomPrompt="1"/>
          </p:nvPr>
        </p:nvSpPr>
        <p:spPr>
          <a:xfrm>
            <a:off x="516828" y="2318179"/>
            <a:ext cx="5490272" cy="2968526"/>
          </a:xfrm>
          <a:noFill/>
        </p:spPr>
        <p:txBody>
          <a:bodyPr/>
          <a:lstStyle>
            <a:lvl1pPr marL="342900" indent="-342900">
              <a:buFont typeface="Wingdings" pitchFamily="2" charset="2"/>
              <a:buChar char="§"/>
              <a:defRPr sz="2200">
                <a:solidFill>
                  <a:schemeClr val="tx1"/>
                </a:solidFill>
              </a:defRPr>
            </a:lvl1pPr>
            <a:lvl2pPr>
              <a:defRPr>
                <a:solidFill>
                  <a:schemeClr val="tx1"/>
                </a:solidFill>
              </a:defRPr>
            </a:lvl2pPr>
          </a:lstStyle>
          <a:p>
            <a:pPr lvl="0"/>
            <a:r>
              <a:rPr lang="de-DE" dirty="0"/>
              <a:t>Text hinzufügen</a:t>
            </a:r>
          </a:p>
          <a:p>
            <a:pPr lvl="1"/>
            <a:r>
              <a:rPr lang="de-DE" dirty="0"/>
              <a:t>Text hinzufügen</a:t>
            </a:r>
          </a:p>
        </p:txBody>
      </p:sp>
      <p:sp>
        <p:nvSpPr>
          <p:cNvPr id="4" name="Inhaltsplatzhalter 3">
            <a:extLst>
              <a:ext uri="{FF2B5EF4-FFF2-40B4-BE49-F238E27FC236}">
                <a16:creationId xmlns:a16="http://schemas.microsoft.com/office/drawing/2014/main" id="{C1E4AC71-2442-1D48-B304-A571C954DD3B}"/>
              </a:ext>
            </a:extLst>
          </p:cNvPr>
          <p:cNvSpPr>
            <a:spLocks noGrp="1"/>
          </p:cNvSpPr>
          <p:nvPr>
            <p:ph sz="half" idx="2" hasCustomPrompt="1"/>
          </p:nvPr>
        </p:nvSpPr>
        <p:spPr>
          <a:xfrm>
            <a:off x="6184900" y="2318179"/>
            <a:ext cx="5490272" cy="2968526"/>
          </a:xfrm>
          <a:noFill/>
        </p:spPr>
        <p:txBody>
          <a:bodyPr/>
          <a:lstStyle>
            <a:lvl1pPr>
              <a:defRPr sz="2200">
                <a:solidFill>
                  <a:schemeClr val="tx1"/>
                </a:solidFill>
              </a:defRPr>
            </a:lvl1pPr>
            <a:lvl2pPr>
              <a:defRPr>
                <a:solidFill>
                  <a:schemeClr val="tx1"/>
                </a:solidFill>
              </a:defRPr>
            </a:lvl2pPr>
            <a:lvl3pPr marL="914400" indent="0">
              <a:buNone/>
              <a:defRPr/>
            </a:lvl3pPr>
          </a:lstStyle>
          <a:p>
            <a:pPr lvl="0"/>
            <a:r>
              <a:rPr lang="de-DE" dirty="0"/>
              <a:t>Text hinzufügen</a:t>
            </a:r>
          </a:p>
          <a:p>
            <a:pPr lvl="1"/>
            <a:r>
              <a:rPr lang="de-DE" dirty="0"/>
              <a:t>Text hinzufügen</a:t>
            </a:r>
          </a:p>
        </p:txBody>
      </p:sp>
      <p:sp>
        <p:nvSpPr>
          <p:cNvPr id="14" name="Fußzeilenplatzhalter 5">
            <a:extLst>
              <a:ext uri="{FF2B5EF4-FFF2-40B4-BE49-F238E27FC236}">
                <a16:creationId xmlns:a16="http://schemas.microsoft.com/office/drawing/2014/main" id="{A6393483-80ED-4449-B5C0-D9FD91514528}"/>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15" name="Foliennummernplatzhalter 6">
            <a:extLst>
              <a:ext uri="{FF2B5EF4-FFF2-40B4-BE49-F238E27FC236}">
                <a16:creationId xmlns:a16="http://schemas.microsoft.com/office/drawing/2014/main" id="{1C7656C6-647E-6946-B1DE-60F1C63E4310}"/>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16" name="Date Placeholder 3">
            <a:extLst>
              <a:ext uri="{FF2B5EF4-FFF2-40B4-BE49-F238E27FC236}">
                <a16:creationId xmlns:a16="http://schemas.microsoft.com/office/drawing/2014/main" id="{4A9D7F78-83D2-5E49-88A2-08B93BACEE27}"/>
              </a:ext>
            </a:extLst>
          </p:cNvPr>
          <p:cNvSpPr>
            <a:spLocks noGrp="1"/>
          </p:cNvSpPr>
          <p:nvPr>
            <p:ph type="dt" sz="half" idx="1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
        <p:nvSpPr>
          <p:cNvPr id="17" name="Titelplatzhalter 9">
            <a:extLst>
              <a:ext uri="{FF2B5EF4-FFF2-40B4-BE49-F238E27FC236}">
                <a16:creationId xmlns:a16="http://schemas.microsoft.com/office/drawing/2014/main" id="{B4368941-D843-024F-AA12-5C54B24C7342}"/>
              </a:ext>
            </a:extLst>
          </p:cNvPr>
          <p:cNvSpPr>
            <a:spLocks noGrp="1"/>
          </p:cNvSpPr>
          <p:nvPr>
            <p:ph type="title" hasCustomPrompt="1"/>
          </p:nvPr>
        </p:nvSpPr>
        <p:spPr>
          <a:xfrm>
            <a:off x="516829" y="1244606"/>
            <a:ext cx="11158342" cy="465764"/>
          </a:xfrm>
          <a:prstGeom prst="rect">
            <a:avLst/>
          </a:prstGeom>
        </p:spPr>
        <p:txBody>
          <a:bodyPr vert="horz" lIns="91440" tIns="45720" rIns="91440" bIns="45720" rtlCol="0" anchor="t" anchorCtr="0">
            <a:noAutofit/>
          </a:bodyPr>
          <a:lstStyle>
            <a:lvl1pPr>
              <a:defRPr sz="3200">
                <a:solidFill>
                  <a:schemeClr val="tx1"/>
                </a:solidFill>
              </a:defRPr>
            </a:lvl1pPr>
          </a:lstStyle>
          <a:p>
            <a:r>
              <a:rPr lang="de-DE" dirty="0"/>
              <a:t>Titel hinzufügen</a:t>
            </a:r>
          </a:p>
        </p:txBody>
      </p:sp>
      <p:sp>
        <p:nvSpPr>
          <p:cNvPr id="18" name="Textplatzhalter 18">
            <a:extLst>
              <a:ext uri="{FF2B5EF4-FFF2-40B4-BE49-F238E27FC236}">
                <a16:creationId xmlns:a16="http://schemas.microsoft.com/office/drawing/2014/main" id="{A3408D62-B43E-844B-B25B-BC53600280D8}"/>
              </a:ext>
            </a:extLst>
          </p:cNvPr>
          <p:cNvSpPr>
            <a:spLocks noGrp="1"/>
          </p:cNvSpPr>
          <p:nvPr>
            <p:ph type="body" sz="quarter" idx="11" hasCustomPrompt="1"/>
          </p:nvPr>
        </p:nvSpPr>
        <p:spPr>
          <a:xfrm>
            <a:off x="516828" y="1732216"/>
            <a:ext cx="11158343" cy="465764"/>
          </a:xfrm>
        </p:spPr>
        <p:txBody>
          <a:bodyPr wrap="square"/>
          <a:lstStyle>
            <a:lvl1pPr marL="0" marR="0" indent="0" algn="l" defTabSz="914400" rtl="0" eaLnBrk="1" fontAlgn="auto" latinLnBrk="0" hangingPunct="1">
              <a:lnSpc>
                <a:spcPct val="100000"/>
              </a:lnSpc>
              <a:spcBef>
                <a:spcPts val="0"/>
              </a:spcBef>
              <a:spcAft>
                <a:spcPts val="0"/>
              </a:spcAft>
              <a:buClr>
                <a:schemeClr val="tx2"/>
              </a:buClr>
              <a:buSzTx/>
              <a:buFontTx/>
              <a:buNone/>
              <a:tabLst/>
              <a:defRPr sz="2200">
                <a:solidFill>
                  <a:schemeClr val="tx1"/>
                </a:solidFill>
              </a:defRPr>
            </a:lvl1pPr>
          </a:lstStyle>
          <a:p>
            <a:pPr lvl="0"/>
            <a:r>
              <a:rPr lang="de-DE"/>
              <a:t>Untertitel hinzufügen</a:t>
            </a:r>
          </a:p>
        </p:txBody>
      </p:sp>
    </p:spTree>
    <p:extLst>
      <p:ext uri="{BB962C8B-B14F-4D97-AF65-F5344CB8AC3E}">
        <p14:creationId xmlns:p14="http://schemas.microsoft.com/office/powerpoint/2010/main" val="19859373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amp; 2 Kolumnen 2">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FBD865-862C-7047-BC86-1748B2D37268}"/>
              </a:ext>
            </a:extLst>
          </p:cNvPr>
          <p:cNvSpPr>
            <a:spLocks noGrp="1"/>
          </p:cNvSpPr>
          <p:nvPr>
            <p:ph type="body" idx="1" hasCustomPrompt="1"/>
          </p:nvPr>
        </p:nvSpPr>
        <p:spPr>
          <a:xfrm>
            <a:off x="516828" y="2318178"/>
            <a:ext cx="5493447" cy="516664"/>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 hinzufügen</a:t>
            </a:r>
          </a:p>
        </p:txBody>
      </p:sp>
      <p:sp>
        <p:nvSpPr>
          <p:cNvPr id="5" name="Textplatzhalter 4">
            <a:extLst>
              <a:ext uri="{FF2B5EF4-FFF2-40B4-BE49-F238E27FC236}">
                <a16:creationId xmlns:a16="http://schemas.microsoft.com/office/drawing/2014/main" id="{15EF4E1B-E50C-F943-BFB5-0970D2712A47}"/>
              </a:ext>
            </a:extLst>
          </p:cNvPr>
          <p:cNvSpPr>
            <a:spLocks noGrp="1"/>
          </p:cNvSpPr>
          <p:nvPr>
            <p:ph type="body" sz="quarter" idx="3" hasCustomPrompt="1"/>
          </p:nvPr>
        </p:nvSpPr>
        <p:spPr>
          <a:xfrm>
            <a:off x="6184900" y="2318178"/>
            <a:ext cx="5490272" cy="516664"/>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 hinzufügen</a:t>
            </a:r>
          </a:p>
        </p:txBody>
      </p:sp>
      <p:sp>
        <p:nvSpPr>
          <p:cNvPr id="10" name="Inhaltsplatzhalter 2">
            <a:extLst>
              <a:ext uri="{FF2B5EF4-FFF2-40B4-BE49-F238E27FC236}">
                <a16:creationId xmlns:a16="http://schemas.microsoft.com/office/drawing/2014/main" id="{6150D3FD-79A2-7B46-9DE9-7453A41FBA88}"/>
              </a:ext>
            </a:extLst>
          </p:cNvPr>
          <p:cNvSpPr>
            <a:spLocks noGrp="1"/>
          </p:cNvSpPr>
          <p:nvPr>
            <p:ph sz="half" idx="13" hasCustomPrompt="1"/>
          </p:nvPr>
        </p:nvSpPr>
        <p:spPr>
          <a:xfrm>
            <a:off x="516828" y="2905864"/>
            <a:ext cx="5490272" cy="2380840"/>
          </a:xfrm>
          <a:noFill/>
        </p:spPr>
        <p:txBody>
          <a:bodyPr/>
          <a:lstStyle>
            <a:lvl1pPr>
              <a:defRPr sz="1400">
                <a:solidFill>
                  <a:schemeClr val="tx1"/>
                </a:solidFill>
              </a:defRPr>
            </a:lvl1pPr>
          </a:lstStyle>
          <a:p>
            <a:pPr lvl="0"/>
            <a:r>
              <a:rPr lang="de-DE" dirty="0"/>
              <a:t>Text hinzufügen</a:t>
            </a:r>
          </a:p>
        </p:txBody>
      </p:sp>
      <p:sp>
        <p:nvSpPr>
          <p:cNvPr id="11" name="Inhaltsplatzhalter 3">
            <a:extLst>
              <a:ext uri="{FF2B5EF4-FFF2-40B4-BE49-F238E27FC236}">
                <a16:creationId xmlns:a16="http://schemas.microsoft.com/office/drawing/2014/main" id="{53EF3434-ABD4-834E-AA98-1DDEAE56BEBB}"/>
              </a:ext>
            </a:extLst>
          </p:cNvPr>
          <p:cNvSpPr>
            <a:spLocks noGrp="1"/>
          </p:cNvSpPr>
          <p:nvPr>
            <p:ph sz="half" idx="2" hasCustomPrompt="1"/>
          </p:nvPr>
        </p:nvSpPr>
        <p:spPr>
          <a:xfrm>
            <a:off x="6184900" y="2905864"/>
            <a:ext cx="5490272" cy="2380840"/>
          </a:xfrm>
          <a:noFill/>
        </p:spPr>
        <p:txBody>
          <a:bodyPr/>
          <a:lstStyle>
            <a:lvl1pPr>
              <a:buClr>
                <a:schemeClr val="accent1"/>
              </a:buClr>
              <a:defRPr sz="1400">
                <a:solidFill>
                  <a:schemeClr val="tx1"/>
                </a:solidFill>
              </a:defRPr>
            </a:lvl1pPr>
          </a:lstStyle>
          <a:p>
            <a:pPr lvl="0"/>
            <a:r>
              <a:rPr lang="de-DE" dirty="0"/>
              <a:t>Text hinzufügen</a:t>
            </a:r>
          </a:p>
        </p:txBody>
      </p:sp>
      <p:sp>
        <p:nvSpPr>
          <p:cNvPr id="13" name="Fußzeilenplatzhalter 5">
            <a:extLst>
              <a:ext uri="{FF2B5EF4-FFF2-40B4-BE49-F238E27FC236}">
                <a16:creationId xmlns:a16="http://schemas.microsoft.com/office/drawing/2014/main" id="{C07CA32C-A420-8A43-A334-C24DBEDDDEAE}"/>
              </a:ext>
            </a:extLst>
          </p:cNvPr>
          <p:cNvSpPr>
            <a:spLocks noGrp="1"/>
          </p:cNvSpPr>
          <p:nvPr>
            <p:ph type="ftr" sz="quarter" idx="14"/>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15" name="Foliennummernplatzhalter 6">
            <a:extLst>
              <a:ext uri="{FF2B5EF4-FFF2-40B4-BE49-F238E27FC236}">
                <a16:creationId xmlns:a16="http://schemas.microsoft.com/office/drawing/2014/main" id="{F7DE3867-30A4-3B42-BD6D-A19F54318507}"/>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16" name="Date Placeholder 3">
            <a:extLst>
              <a:ext uri="{FF2B5EF4-FFF2-40B4-BE49-F238E27FC236}">
                <a16:creationId xmlns:a16="http://schemas.microsoft.com/office/drawing/2014/main" id="{9319DFF1-C910-BD45-BFB0-36EAE7F685FD}"/>
              </a:ext>
            </a:extLst>
          </p:cNvPr>
          <p:cNvSpPr>
            <a:spLocks noGrp="1"/>
          </p:cNvSpPr>
          <p:nvPr>
            <p:ph type="dt" sz="half" idx="15"/>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
        <p:nvSpPr>
          <p:cNvPr id="17" name="Titelplatzhalter 9">
            <a:extLst>
              <a:ext uri="{FF2B5EF4-FFF2-40B4-BE49-F238E27FC236}">
                <a16:creationId xmlns:a16="http://schemas.microsoft.com/office/drawing/2014/main" id="{33D75620-6891-8341-8DCB-913E0FFA5531}"/>
              </a:ext>
            </a:extLst>
          </p:cNvPr>
          <p:cNvSpPr>
            <a:spLocks noGrp="1"/>
          </p:cNvSpPr>
          <p:nvPr>
            <p:ph type="title" hasCustomPrompt="1"/>
          </p:nvPr>
        </p:nvSpPr>
        <p:spPr>
          <a:xfrm>
            <a:off x="516829" y="1244606"/>
            <a:ext cx="11158342" cy="465764"/>
          </a:xfrm>
          <a:prstGeom prst="rect">
            <a:avLst/>
          </a:prstGeom>
        </p:spPr>
        <p:txBody>
          <a:bodyPr vert="horz" lIns="91440" tIns="45720" rIns="91440" bIns="45720" rtlCol="0" anchor="t" anchorCtr="0">
            <a:noAutofit/>
          </a:bodyPr>
          <a:lstStyle>
            <a:lvl1pPr>
              <a:defRPr sz="3200">
                <a:solidFill>
                  <a:schemeClr val="tx1"/>
                </a:solidFill>
              </a:defRPr>
            </a:lvl1pPr>
          </a:lstStyle>
          <a:p>
            <a:r>
              <a:rPr lang="de-DE" dirty="0"/>
              <a:t>Titel hinzufügen</a:t>
            </a:r>
          </a:p>
        </p:txBody>
      </p:sp>
      <p:sp>
        <p:nvSpPr>
          <p:cNvPr id="18" name="Textplatzhalter 18">
            <a:extLst>
              <a:ext uri="{FF2B5EF4-FFF2-40B4-BE49-F238E27FC236}">
                <a16:creationId xmlns:a16="http://schemas.microsoft.com/office/drawing/2014/main" id="{31A34632-A197-904C-B09E-A887D8977478}"/>
              </a:ext>
            </a:extLst>
          </p:cNvPr>
          <p:cNvSpPr>
            <a:spLocks noGrp="1"/>
          </p:cNvSpPr>
          <p:nvPr>
            <p:ph type="body" sz="quarter" idx="11" hasCustomPrompt="1"/>
          </p:nvPr>
        </p:nvSpPr>
        <p:spPr>
          <a:xfrm>
            <a:off x="516828" y="1732216"/>
            <a:ext cx="11158343" cy="465764"/>
          </a:xfrm>
        </p:spPr>
        <p:txBody>
          <a:bodyPr wrap="square"/>
          <a:lstStyle>
            <a:lvl1pPr marL="0" marR="0" indent="0" algn="l" defTabSz="914400" rtl="0" eaLnBrk="1" fontAlgn="auto" latinLnBrk="0" hangingPunct="1">
              <a:lnSpc>
                <a:spcPct val="100000"/>
              </a:lnSpc>
              <a:spcBef>
                <a:spcPts val="0"/>
              </a:spcBef>
              <a:spcAft>
                <a:spcPts val="0"/>
              </a:spcAft>
              <a:buClr>
                <a:schemeClr val="tx2"/>
              </a:buClr>
              <a:buSzTx/>
              <a:buFontTx/>
              <a:buNone/>
              <a:tabLst/>
              <a:defRPr sz="2200">
                <a:solidFill>
                  <a:schemeClr val="tx1"/>
                </a:solidFill>
              </a:defRPr>
            </a:lvl1pPr>
          </a:lstStyle>
          <a:p>
            <a:pPr lvl="0"/>
            <a:r>
              <a:rPr lang="de-DE"/>
              <a:t>Untertitel hinzufügen</a:t>
            </a:r>
          </a:p>
        </p:txBody>
      </p:sp>
    </p:spTree>
    <p:extLst>
      <p:ext uri="{BB962C8B-B14F-4D97-AF65-F5344CB8AC3E}">
        <p14:creationId xmlns:p14="http://schemas.microsoft.com/office/powerpoint/2010/main" val="299816400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amp; 3 Kolumnen 1">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9FBD865-862C-7047-BC86-1748B2D37268}"/>
              </a:ext>
            </a:extLst>
          </p:cNvPr>
          <p:cNvSpPr>
            <a:spLocks noGrp="1"/>
          </p:cNvSpPr>
          <p:nvPr>
            <p:ph type="body" idx="1" hasCustomPrompt="1"/>
          </p:nvPr>
        </p:nvSpPr>
        <p:spPr>
          <a:xfrm>
            <a:off x="516829" y="2318178"/>
            <a:ext cx="3615827" cy="516664"/>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 hinzufügen</a:t>
            </a:r>
          </a:p>
        </p:txBody>
      </p:sp>
      <p:sp>
        <p:nvSpPr>
          <p:cNvPr id="10" name="Inhaltsplatzhalter 2">
            <a:extLst>
              <a:ext uri="{FF2B5EF4-FFF2-40B4-BE49-F238E27FC236}">
                <a16:creationId xmlns:a16="http://schemas.microsoft.com/office/drawing/2014/main" id="{6150D3FD-79A2-7B46-9DE9-7453A41FBA88}"/>
              </a:ext>
            </a:extLst>
          </p:cNvPr>
          <p:cNvSpPr>
            <a:spLocks noGrp="1"/>
          </p:cNvSpPr>
          <p:nvPr>
            <p:ph sz="half" idx="13" hasCustomPrompt="1"/>
          </p:nvPr>
        </p:nvSpPr>
        <p:spPr>
          <a:xfrm>
            <a:off x="516828" y="2905864"/>
            <a:ext cx="3613738" cy="2380840"/>
          </a:xfrm>
        </p:spPr>
        <p:txBody>
          <a:bodyPr/>
          <a:lstStyle>
            <a:lvl1pPr>
              <a:defRPr sz="1400">
                <a:solidFill>
                  <a:schemeClr val="tx1"/>
                </a:solidFill>
              </a:defRPr>
            </a:lvl1pPr>
          </a:lstStyle>
          <a:p>
            <a:pPr lvl="0"/>
            <a:r>
              <a:rPr lang="de-DE" dirty="0"/>
              <a:t>Text hinzufügen</a:t>
            </a:r>
          </a:p>
        </p:txBody>
      </p:sp>
      <p:sp>
        <p:nvSpPr>
          <p:cNvPr id="25" name="Textplatzhalter 2">
            <a:extLst>
              <a:ext uri="{FF2B5EF4-FFF2-40B4-BE49-F238E27FC236}">
                <a16:creationId xmlns:a16="http://schemas.microsoft.com/office/drawing/2014/main" id="{5889B3DD-F09D-AD40-BCFB-C12FFBC7A811}"/>
              </a:ext>
            </a:extLst>
          </p:cNvPr>
          <p:cNvSpPr>
            <a:spLocks noGrp="1"/>
          </p:cNvSpPr>
          <p:nvPr>
            <p:ph type="body" idx="16" hasCustomPrompt="1"/>
          </p:nvPr>
        </p:nvSpPr>
        <p:spPr>
          <a:xfrm>
            <a:off x="4288086" y="2318178"/>
            <a:ext cx="3615827" cy="516664"/>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 hinzufügen</a:t>
            </a:r>
          </a:p>
        </p:txBody>
      </p:sp>
      <p:sp>
        <p:nvSpPr>
          <p:cNvPr id="26" name="Inhaltsplatzhalter 2">
            <a:extLst>
              <a:ext uri="{FF2B5EF4-FFF2-40B4-BE49-F238E27FC236}">
                <a16:creationId xmlns:a16="http://schemas.microsoft.com/office/drawing/2014/main" id="{02B13C96-5370-884B-B658-4E6FF7B1A5AB}"/>
              </a:ext>
            </a:extLst>
          </p:cNvPr>
          <p:cNvSpPr>
            <a:spLocks noGrp="1"/>
          </p:cNvSpPr>
          <p:nvPr>
            <p:ph sz="half" idx="17" hasCustomPrompt="1"/>
          </p:nvPr>
        </p:nvSpPr>
        <p:spPr>
          <a:xfrm>
            <a:off x="4288085" y="2905864"/>
            <a:ext cx="3613738" cy="2380840"/>
          </a:xfrm>
        </p:spPr>
        <p:txBody>
          <a:bodyPr/>
          <a:lstStyle>
            <a:lvl1pPr>
              <a:defRPr sz="1400">
                <a:solidFill>
                  <a:schemeClr val="tx1"/>
                </a:solidFill>
              </a:defRPr>
            </a:lvl1pPr>
          </a:lstStyle>
          <a:p>
            <a:pPr lvl="0"/>
            <a:r>
              <a:rPr lang="de-DE" dirty="0"/>
              <a:t>Text hinzufügen</a:t>
            </a:r>
          </a:p>
        </p:txBody>
      </p:sp>
      <p:sp>
        <p:nvSpPr>
          <p:cNvPr id="27" name="Textplatzhalter 2">
            <a:extLst>
              <a:ext uri="{FF2B5EF4-FFF2-40B4-BE49-F238E27FC236}">
                <a16:creationId xmlns:a16="http://schemas.microsoft.com/office/drawing/2014/main" id="{3C49798B-EBBA-1A45-B2BD-24BE13D450D1}"/>
              </a:ext>
            </a:extLst>
          </p:cNvPr>
          <p:cNvSpPr>
            <a:spLocks noGrp="1"/>
          </p:cNvSpPr>
          <p:nvPr>
            <p:ph type="body" idx="18" hasCustomPrompt="1"/>
          </p:nvPr>
        </p:nvSpPr>
        <p:spPr>
          <a:xfrm>
            <a:off x="8059344" y="2318178"/>
            <a:ext cx="3615827" cy="516664"/>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 hinzufügen</a:t>
            </a:r>
          </a:p>
        </p:txBody>
      </p:sp>
      <p:sp>
        <p:nvSpPr>
          <p:cNvPr id="28" name="Inhaltsplatzhalter 2">
            <a:extLst>
              <a:ext uri="{FF2B5EF4-FFF2-40B4-BE49-F238E27FC236}">
                <a16:creationId xmlns:a16="http://schemas.microsoft.com/office/drawing/2014/main" id="{8E9AB75B-83A1-994D-9FBC-A5B2BFABB746}"/>
              </a:ext>
            </a:extLst>
          </p:cNvPr>
          <p:cNvSpPr>
            <a:spLocks noGrp="1"/>
          </p:cNvSpPr>
          <p:nvPr>
            <p:ph sz="half" idx="19" hasCustomPrompt="1"/>
          </p:nvPr>
        </p:nvSpPr>
        <p:spPr>
          <a:xfrm>
            <a:off x="8059343" y="2905864"/>
            <a:ext cx="3613738" cy="2380840"/>
          </a:xfrm>
        </p:spPr>
        <p:txBody>
          <a:bodyPr/>
          <a:lstStyle>
            <a:lvl1pPr>
              <a:defRPr sz="1400">
                <a:solidFill>
                  <a:schemeClr val="tx1"/>
                </a:solidFill>
              </a:defRPr>
            </a:lvl1pPr>
          </a:lstStyle>
          <a:p>
            <a:pPr lvl="0"/>
            <a:r>
              <a:rPr lang="de-DE" dirty="0"/>
              <a:t>Text hinzufügen</a:t>
            </a:r>
          </a:p>
        </p:txBody>
      </p:sp>
      <p:sp>
        <p:nvSpPr>
          <p:cNvPr id="15" name="Fußzeilenplatzhalter 5">
            <a:extLst>
              <a:ext uri="{FF2B5EF4-FFF2-40B4-BE49-F238E27FC236}">
                <a16:creationId xmlns:a16="http://schemas.microsoft.com/office/drawing/2014/main" id="{0595B8A1-3DEF-0645-BB82-BC660EEF38D6}"/>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16" name="Foliennummernplatzhalter 6">
            <a:extLst>
              <a:ext uri="{FF2B5EF4-FFF2-40B4-BE49-F238E27FC236}">
                <a16:creationId xmlns:a16="http://schemas.microsoft.com/office/drawing/2014/main" id="{687F6EFB-F0D3-4F47-BDC4-CB28372B8350}"/>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17" name="Date Placeholder 3">
            <a:extLst>
              <a:ext uri="{FF2B5EF4-FFF2-40B4-BE49-F238E27FC236}">
                <a16:creationId xmlns:a16="http://schemas.microsoft.com/office/drawing/2014/main" id="{89480B51-D244-5540-9473-00F9F9463D40}"/>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sp>
        <p:nvSpPr>
          <p:cNvPr id="18" name="Titelplatzhalter 9">
            <a:extLst>
              <a:ext uri="{FF2B5EF4-FFF2-40B4-BE49-F238E27FC236}">
                <a16:creationId xmlns:a16="http://schemas.microsoft.com/office/drawing/2014/main" id="{B9FE9A0B-C7A8-8142-A79B-CE6203A81C57}"/>
              </a:ext>
            </a:extLst>
          </p:cNvPr>
          <p:cNvSpPr>
            <a:spLocks noGrp="1"/>
          </p:cNvSpPr>
          <p:nvPr>
            <p:ph type="title" hasCustomPrompt="1"/>
          </p:nvPr>
        </p:nvSpPr>
        <p:spPr>
          <a:xfrm>
            <a:off x="516829" y="1244606"/>
            <a:ext cx="11158342" cy="465764"/>
          </a:xfrm>
          <a:prstGeom prst="rect">
            <a:avLst/>
          </a:prstGeom>
        </p:spPr>
        <p:txBody>
          <a:bodyPr vert="horz" lIns="91440" tIns="45720" rIns="91440" bIns="45720" rtlCol="0" anchor="t" anchorCtr="0">
            <a:noAutofit/>
          </a:bodyPr>
          <a:lstStyle>
            <a:lvl1pPr>
              <a:defRPr sz="3200">
                <a:solidFill>
                  <a:schemeClr val="tx1"/>
                </a:solidFill>
              </a:defRPr>
            </a:lvl1pPr>
          </a:lstStyle>
          <a:p>
            <a:r>
              <a:rPr lang="de-DE" dirty="0"/>
              <a:t>Titel hinzufügen</a:t>
            </a:r>
          </a:p>
        </p:txBody>
      </p:sp>
      <p:sp>
        <p:nvSpPr>
          <p:cNvPr id="22" name="Textplatzhalter 18">
            <a:extLst>
              <a:ext uri="{FF2B5EF4-FFF2-40B4-BE49-F238E27FC236}">
                <a16:creationId xmlns:a16="http://schemas.microsoft.com/office/drawing/2014/main" id="{54CF3836-D6C8-6545-8493-BAE75F41896B}"/>
              </a:ext>
            </a:extLst>
          </p:cNvPr>
          <p:cNvSpPr>
            <a:spLocks noGrp="1"/>
          </p:cNvSpPr>
          <p:nvPr>
            <p:ph type="body" sz="quarter" idx="11" hasCustomPrompt="1"/>
          </p:nvPr>
        </p:nvSpPr>
        <p:spPr>
          <a:xfrm>
            <a:off x="516828" y="1732216"/>
            <a:ext cx="11158343" cy="465764"/>
          </a:xfrm>
        </p:spPr>
        <p:txBody>
          <a:bodyPr wrap="square"/>
          <a:lstStyle>
            <a:lvl1pPr marL="0" marR="0" indent="0" algn="l" defTabSz="914400" rtl="0" eaLnBrk="1" fontAlgn="auto" latinLnBrk="0" hangingPunct="1">
              <a:lnSpc>
                <a:spcPct val="100000"/>
              </a:lnSpc>
              <a:spcBef>
                <a:spcPts val="0"/>
              </a:spcBef>
              <a:spcAft>
                <a:spcPts val="0"/>
              </a:spcAft>
              <a:buClr>
                <a:schemeClr val="tx2"/>
              </a:buClr>
              <a:buSzTx/>
              <a:buFontTx/>
              <a:buNone/>
              <a:tabLst/>
              <a:defRPr sz="2200">
                <a:solidFill>
                  <a:schemeClr val="tx1"/>
                </a:solidFill>
              </a:defRPr>
            </a:lvl1pPr>
          </a:lstStyle>
          <a:p>
            <a:pPr lvl="0"/>
            <a:r>
              <a:rPr lang="de-DE"/>
              <a:t>Untertitel hinzufügen</a:t>
            </a:r>
          </a:p>
        </p:txBody>
      </p:sp>
    </p:spTree>
    <p:extLst>
      <p:ext uri="{BB962C8B-B14F-4D97-AF65-F5344CB8AC3E}">
        <p14:creationId xmlns:p14="http://schemas.microsoft.com/office/powerpoint/2010/main" val="313827282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4.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image" Target="../media/image2.png"/><Relationship Id="rId2" Type="http://schemas.openxmlformats.org/officeDocument/2006/relationships/slideLayout" Target="../slideLayouts/slideLayout3.xml"/><Relationship Id="rId16"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5.sv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feld 7">
            <a:extLst>
              <a:ext uri="{FF2B5EF4-FFF2-40B4-BE49-F238E27FC236}">
                <a16:creationId xmlns:a16="http://schemas.microsoft.com/office/drawing/2014/main" id="{0E666E3C-B2C7-DC43-9DFD-49D160111E6F}"/>
              </a:ext>
            </a:extLst>
          </p:cNvPr>
          <p:cNvSpPr txBox="1"/>
          <p:nvPr userDrawn="1"/>
        </p:nvSpPr>
        <p:spPr>
          <a:xfrm>
            <a:off x="-311085" y="3610466"/>
            <a:ext cx="184731" cy="369332"/>
          </a:xfrm>
          <a:prstGeom prst="rect">
            <a:avLst/>
          </a:prstGeom>
          <a:noFill/>
        </p:spPr>
        <p:txBody>
          <a:bodyPr wrap="none" rtlCol="0">
            <a:spAutoFit/>
          </a:bodyPr>
          <a:lstStyle/>
          <a:p>
            <a:endParaRPr lang="de-DE"/>
          </a:p>
        </p:txBody>
      </p:sp>
      <p:pic>
        <p:nvPicPr>
          <p:cNvPr id="3" name="Grafik 2">
            <a:extLst>
              <a:ext uri="{FF2B5EF4-FFF2-40B4-BE49-F238E27FC236}">
                <a16:creationId xmlns:a16="http://schemas.microsoft.com/office/drawing/2014/main" id="{CD60AD41-C6C0-EC47-95AD-B2AA8FD4176F}"/>
              </a:ext>
            </a:extLst>
          </p:cNvPr>
          <p:cNvPicPr>
            <a:picLocks noChangeAspect="1"/>
          </p:cNvPicPr>
          <p:nvPr userDrawn="1"/>
        </p:nvPicPr>
        <p:blipFill>
          <a:blip r:embed="rId3"/>
          <a:srcRect/>
          <a:stretch/>
        </p:blipFill>
        <p:spPr>
          <a:xfrm>
            <a:off x="286" y="589"/>
            <a:ext cx="12191427" cy="6856821"/>
          </a:xfrm>
          <a:prstGeom prst="rect">
            <a:avLst/>
          </a:prstGeom>
        </p:spPr>
      </p:pic>
    </p:spTree>
    <p:extLst>
      <p:ext uri="{BB962C8B-B14F-4D97-AF65-F5344CB8AC3E}">
        <p14:creationId xmlns:p14="http://schemas.microsoft.com/office/powerpoint/2010/main" val="304028844"/>
      </p:ext>
    </p:extLst>
  </p:cSld>
  <p:clrMap bg1="lt1" tx1="dk1" bg2="lt2" tx2="dk2" accent1="accent1" accent2="accent2" accent3="accent3" accent4="accent4" accent5="accent5" accent6="accent6" hlink="hlink" folHlink="folHlink"/>
  <p:sldLayoutIdLst>
    <p:sldLayoutId id="2147483851" r:id="rId1"/>
  </p:sldLayoutIdLst>
  <p:hf hdr="0"/>
  <p:txStyles>
    <p:titleStyle>
      <a:lvl1pPr algn="l" defTabSz="914400" rtl="0" eaLnBrk="1" latinLnBrk="0" hangingPunct="1">
        <a:lnSpc>
          <a:spcPct val="90000"/>
        </a:lnSpc>
        <a:spcBef>
          <a:spcPct val="0"/>
        </a:spcBef>
        <a:buNone/>
        <a:defRPr sz="4400" b="0" i="0" kern="120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Wingdings" pitchFamily="2" charset="2"/>
        <a:buChar char="§"/>
        <a:defRPr sz="20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8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6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2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D9F412BB-C7A8-8747-A602-5D63E608BC03}"/>
              </a:ext>
            </a:extLst>
          </p:cNvPr>
          <p:cNvPicPr>
            <a:picLocks noChangeAspect="1"/>
          </p:cNvPicPr>
          <p:nvPr userDrawn="1"/>
        </p:nvPicPr>
        <p:blipFill>
          <a:blip r:embed="rId16"/>
          <a:srcRect/>
          <a:stretch/>
        </p:blipFill>
        <p:spPr>
          <a:xfrm>
            <a:off x="1" y="858"/>
            <a:ext cx="12191998" cy="6857141"/>
          </a:xfrm>
          <a:prstGeom prst="rect">
            <a:avLst/>
          </a:prstGeom>
        </p:spPr>
      </p:pic>
      <p:sp>
        <p:nvSpPr>
          <p:cNvPr id="3" name="Textplatzhalter 2">
            <a:extLst>
              <a:ext uri="{FF2B5EF4-FFF2-40B4-BE49-F238E27FC236}">
                <a16:creationId xmlns:a16="http://schemas.microsoft.com/office/drawing/2014/main" id="{213130ED-1F4E-0140-AE22-1D706BE4378F}"/>
              </a:ext>
            </a:extLst>
          </p:cNvPr>
          <p:cNvSpPr>
            <a:spLocks noGrp="1"/>
          </p:cNvSpPr>
          <p:nvPr>
            <p:ph type="body" idx="1"/>
          </p:nvPr>
        </p:nvSpPr>
        <p:spPr>
          <a:xfrm>
            <a:off x="516828" y="2160587"/>
            <a:ext cx="11158344" cy="3165557"/>
          </a:xfrm>
          <a:prstGeom prst="rect">
            <a:avLst/>
          </a:prstGeom>
        </p:spPr>
        <p:txBody>
          <a:bodyPr vert="horz" lIns="91440" tIns="45720" rIns="91440" bIns="45720" rtlCol="0">
            <a:noAutofit/>
          </a:bodyPr>
          <a:lstStyle/>
          <a:p>
            <a:pPr lvl="0"/>
            <a:r>
              <a:rPr lang="de-DE" dirty="0"/>
              <a:t>Mastertextformat bearbeiten</a:t>
            </a:r>
          </a:p>
          <a:p>
            <a:pPr lvl="1"/>
            <a:r>
              <a:rPr lang="de-DE" dirty="0"/>
              <a:t>Zweite Ebene</a:t>
            </a:r>
          </a:p>
        </p:txBody>
      </p:sp>
      <p:sp>
        <p:nvSpPr>
          <p:cNvPr id="8" name="Textfeld 7">
            <a:extLst>
              <a:ext uri="{FF2B5EF4-FFF2-40B4-BE49-F238E27FC236}">
                <a16:creationId xmlns:a16="http://schemas.microsoft.com/office/drawing/2014/main" id="{0E666E3C-B2C7-DC43-9DFD-49D160111E6F}"/>
              </a:ext>
            </a:extLst>
          </p:cNvPr>
          <p:cNvSpPr txBox="1"/>
          <p:nvPr userDrawn="1"/>
        </p:nvSpPr>
        <p:spPr>
          <a:xfrm>
            <a:off x="-311085" y="3610466"/>
            <a:ext cx="184731" cy="369332"/>
          </a:xfrm>
          <a:prstGeom prst="rect">
            <a:avLst/>
          </a:prstGeom>
          <a:noFill/>
        </p:spPr>
        <p:txBody>
          <a:bodyPr wrap="none" rtlCol="0">
            <a:spAutoFit/>
          </a:bodyPr>
          <a:lstStyle/>
          <a:p>
            <a:endParaRPr lang="de-DE"/>
          </a:p>
        </p:txBody>
      </p:sp>
      <p:sp>
        <p:nvSpPr>
          <p:cNvPr id="10" name="Fußzeilenplatzhalter 5">
            <a:extLst>
              <a:ext uri="{FF2B5EF4-FFF2-40B4-BE49-F238E27FC236}">
                <a16:creationId xmlns:a16="http://schemas.microsoft.com/office/drawing/2014/main" id="{E71C8279-96E4-9F43-B24D-E1DBF238661F}"/>
              </a:ext>
            </a:extLst>
          </p:cNvPr>
          <p:cNvSpPr>
            <a:spLocks noGrp="1"/>
          </p:cNvSpPr>
          <p:nvPr>
            <p:ph type="ftr" sz="quarter" idx="3"/>
          </p:nvPr>
        </p:nvSpPr>
        <p:spPr>
          <a:xfrm>
            <a:off x="3055361" y="6185168"/>
            <a:ext cx="6453264" cy="170036"/>
          </a:xfrm>
          <a:prstGeom prst="rect">
            <a:avLst/>
          </a:prstGeom>
        </p:spPr>
        <p:txBody>
          <a:bodyPr/>
          <a:lstStyle>
            <a:lvl1pPr algn="l">
              <a:defRPr sz="800">
                <a:solidFill>
                  <a:schemeClr val="bg2">
                    <a:lumMod val="50000"/>
                  </a:schemeClr>
                </a:solidFill>
              </a:defRPr>
            </a:lvl1pPr>
          </a:lstStyle>
          <a:p>
            <a:r>
              <a:rPr lang="en-US"/>
              <a:t>Projekt XXX</a:t>
            </a:r>
          </a:p>
        </p:txBody>
      </p:sp>
      <p:sp>
        <p:nvSpPr>
          <p:cNvPr id="11" name="Foliennummernplatzhalter 6">
            <a:extLst>
              <a:ext uri="{FF2B5EF4-FFF2-40B4-BE49-F238E27FC236}">
                <a16:creationId xmlns:a16="http://schemas.microsoft.com/office/drawing/2014/main" id="{B41B914A-380C-CE4F-A3DB-68211577B6FF}"/>
              </a:ext>
            </a:extLst>
          </p:cNvPr>
          <p:cNvSpPr>
            <a:spLocks noGrp="1"/>
          </p:cNvSpPr>
          <p:nvPr>
            <p:ph type="sldNum" sz="quarter" idx="4"/>
          </p:nvPr>
        </p:nvSpPr>
        <p:spPr>
          <a:xfrm>
            <a:off x="9612416" y="6188571"/>
            <a:ext cx="712881" cy="163231"/>
          </a:xfrm>
          <a:prstGeom prst="rect">
            <a:avLst/>
          </a:prstGeom>
        </p:spPr>
        <p:txBody>
          <a:bodyPr rIns="0"/>
          <a:lstStyle>
            <a:lvl1pPr algn="r">
              <a:defRPr sz="800">
                <a:solidFill>
                  <a:schemeClr val="bg2">
                    <a:lumMod val="50000"/>
                  </a:schemeClr>
                </a:solidFill>
              </a:defRPr>
            </a:lvl1pPr>
          </a:lstStyle>
          <a:p>
            <a:r>
              <a:rPr lang="en-US"/>
              <a:t>Seite </a:t>
            </a:r>
            <a:fld id="{6D22F896-40B5-4ADD-8801-0D06FADFA095}" type="slidenum">
              <a:rPr lang="en-US" smtClean="0"/>
              <a:pPr/>
              <a:t>‹Nr.›</a:t>
            </a:fld>
            <a:endParaRPr lang="en-US"/>
          </a:p>
        </p:txBody>
      </p:sp>
      <p:sp>
        <p:nvSpPr>
          <p:cNvPr id="12" name="Date Placeholder 3">
            <a:extLst>
              <a:ext uri="{FF2B5EF4-FFF2-40B4-BE49-F238E27FC236}">
                <a16:creationId xmlns:a16="http://schemas.microsoft.com/office/drawing/2014/main" id="{F5F3BCA7-FBBC-D147-BED9-083B0CEA702E}"/>
              </a:ext>
            </a:extLst>
          </p:cNvPr>
          <p:cNvSpPr>
            <a:spLocks noGrp="1"/>
          </p:cNvSpPr>
          <p:nvPr>
            <p:ph type="dt" sz="half" idx="2"/>
          </p:nvPr>
        </p:nvSpPr>
        <p:spPr>
          <a:xfrm>
            <a:off x="2231629" y="6185168"/>
            <a:ext cx="713338" cy="170036"/>
          </a:xfrm>
          <a:prstGeom prst="rect">
            <a:avLst/>
          </a:prstGeom>
        </p:spPr>
        <p:txBody>
          <a:bodyPr vert="horz" lIns="91440" tIns="45720" rIns="91440" bIns="45720" rtlCol="0" anchor="t" anchorCtr="0"/>
          <a:lstStyle>
            <a:lvl1pPr algn="l">
              <a:defRPr sz="800" baseline="0">
                <a:solidFill>
                  <a:schemeClr val="bg2">
                    <a:lumMod val="50000"/>
                  </a:schemeClr>
                </a:solidFill>
              </a:defRPr>
            </a:lvl1pPr>
          </a:lstStyle>
          <a:p>
            <a:fld id="{D45DEB48-55E7-5347-8659-3F16911D02D3}" type="datetime1">
              <a:rPr lang="de-DE"/>
              <a:pPr/>
              <a:t>20.09.2023</a:t>
            </a:fld>
            <a:endParaRPr lang="de-DE" dirty="0"/>
          </a:p>
        </p:txBody>
      </p:sp>
      <p:pic>
        <p:nvPicPr>
          <p:cNvPr id="9" name="Grafik 8">
            <a:extLst>
              <a:ext uri="{FF2B5EF4-FFF2-40B4-BE49-F238E27FC236}">
                <a16:creationId xmlns:a16="http://schemas.microsoft.com/office/drawing/2014/main" id="{C6E62AE7-5E56-2149-AA17-F9356C74F5F9}"/>
              </a:ext>
            </a:extLst>
          </p:cNvPr>
          <p:cNvPicPr>
            <a:picLocks noChangeAspect="1"/>
          </p:cNvPicPr>
          <p:nvPr userDrawn="1"/>
        </p:nvPicPr>
        <p:blipFill>
          <a:blip r:embed="rId17"/>
          <a:stretch>
            <a:fillRect/>
          </a:stretch>
        </p:blipFill>
        <p:spPr>
          <a:xfrm>
            <a:off x="254673" y="216592"/>
            <a:ext cx="2543472" cy="989443"/>
          </a:xfrm>
          <a:prstGeom prst="rect">
            <a:avLst/>
          </a:prstGeom>
        </p:spPr>
      </p:pic>
      <p:pic>
        <p:nvPicPr>
          <p:cNvPr id="4" name="Grafik 3" descr="Kolibri">
            <a:extLst>
              <a:ext uri="{FF2B5EF4-FFF2-40B4-BE49-F238E27FC236}">
                <a16:creationId xmlns:a16="http://schemas.microsoft.com/office/drawing/2014/main" id="{D7C6EF08-B684-47A0-B5BA-318851CD8135}"/>
              </a:ext>
            </a:extLst>
          </p:cNvPr>
          <p:cNvPicPr>
            <a:picLocks noChangeAspect="1"/>
          </p:cNvPicPr>
          <p:nvPr userDrawn="1"/>
        </p:nvPicPr>
        <p:blipFill>
          <a:blip r:embed="rId18">
            <a:extLst>
              <a:ext uri="{96DAC541-7B7A-43D3-8B79-37D633B846F1}">
                <asvg:svgBlip xmlns="" xmlns:asvg="http://schemas.microsoft.com/office/drawing/2016/SVG/main" r:embed="rId19"/>
              </a:ext>
            </a:extLst>
          </a:blip>
          <a:stretch>
            <a:fillRect/>
          </a:stretch>
        </p:blipFill>
        <p:spPr>
          <a:xfrm>
            <a:off x="1" y="6136481"/>
            <a:ext cx="721518" cy="721518"/>
          </a:xfrm>
          <a:prstGeom prst="rect">
            <a:avLst/>
          </a:prstGeom>
        </p:spPr>
      </p:pic>
    </p:spTree>
    <p:extLst>
      <p:ext uri="{BB962C8B-B14F-4D97-AF65-F5344CB8AC3E}">
        <p14:creationId xmlns:p14="http://schemas.microsoft.com/office/powerpoint/2010/main" val="2599889055"/>
      </p:ext>
    </p:extLst>
  </p:cSld>
  <p:clrMap bg1="lt1" tx1="dk1" bg2="lt2" tx2="dk2" accent1="accent1" accent2="accent2" accent3="accent3" accent4="accent4" accent5="accent5" accent6="accent6" hlink="hlink" folHlink="folHlink"/>
  <p:sldLayoutIdLst>
    <p:sldLayoutId id="2147483848" r:id="rId1"/>
    <p:sldLayoutId id="2147483759" r:id="rId2"/>
    <p:sldLayoutId id="2147483853" r:id="rId3"/>
    <p:sldLayoutId id="2147483855" r:id="rId4"/>
    <p:sldLayoutId id="2147483854" r:id="rId5"/>
    <p:sldLayoutId id="2147483761" r:id="rId6"/>
    <p:sldLayoutId id="2147483762" r:id="rId7"/>
    <p:sldLayoutId id="2147483849" r:id="rId8"/>
    <p:sldLayoutId id="2147483850" r:id="rId9"/>
    <p:sldLayoutId id="2147483823" r:id="rId10"/>
    <p:sldLayoutId id="2147483819" r:id="rId11"/>
    <p:sldLayoutId id="2147483801" r:id="rId12"/>
    <p:sldLayoutId id="2147483856" r:id="rId13"/>
    <p:sldLayoutId id="2147483857" r:id="rId14"/>
  </p:sldLayoutIdLst>
  <p:hf hdr="0"/>
  <p:txStyles>
    <p:titleStyle>
      <a:lvl1pPr algn="l" defTabSz="914400" rtl="0" eaLnBrk="1" latinLnBrk="0" hangingPunct="1">
        <a:lnSpc>
          <a:spcPct val="90000"/>
        </a:lnSpc>
        <a:spcBef>
          <a:spcPct val="0"/>
        </a:spcBef>
        <a:buNone/>
        <a:defRPr sz="3400" b="1" i="0" kern="1200">
          <a:solidFill>
            <a:schemeClr val="tx2"/>
          </a:solidFill>
          <a:latin typeface="+mj-lt"/>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chemeClr val="accent1"/>
        </a:buClr>
        <a:buFont typeface="Wingdings" pitchFamily="2" charset="2"/>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Wingdings" pitchFamily="2" charset="2"/>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Wingdings" pitchFamily="2" charset="2"/>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feld 7">
            <a:extLst>
              <a:ext uri="{FF2B5EF4-FFF2-40B4-BE49-F238E27FC236}">
                <a16:creationId xmlns:a16="http://schemas.microsoft.com/office/drawing/2014/main" id="{0E666E3C-B2C7-DC43-9DFD-49D160111E6F}"/>
              </a:ext>
            </a:extLst>
          </p:cNvPr>
          <p:cNvSpPr txBox="1"/>
          <p:nvPr userDrawn="1"/>
        </p:nvSpPr>
        <p:spPr>
          <a:xfrm>
            <a:off x="-311085" y="3610466"/>
            <a:ext cx="184731" cy="369332"/>
          </a:xfrm>
          <a:prstGeom prst="rect">
            <a:avLst/>
          </a:prstGeom>
          <a:noFill/>
        </p:spPr>
        <p:txBody>
          <a:bodyPr wrap="none" rtlCol="0">
            <a:spAutoFit/>
          </a:bodyPr>
          <a:lstStyle/>
          <a:p>
            <a:endParaRPr lang="de-DE"/>
          </a:p>
        </p:txBody>
      </p:sp>
    </p:spTree>
    <p:extLst>
      <p:ext uri="{BB962C8B-B14F-4D97-AF65-F5344CB8AC3E}">
        <p14:creationId xmlns:p14="http://schemas.microsoft.com/office/powerpoint/2010/main" val="143765382"/>
      </p:ext>
    </p:extLst>
  </p:cSld>
  <p:clrMap bg1="lt1" tx1="dk1" bg2="lt2" tx2="dk2" accent1="accent1" accent2="accent2" accent3="accent3" accent4="accent4" accent5="accent5" accent6="accent6" hlink="hlink" folHlink="folHlink"/>
  <p:sldLayoutIdLst>
    <p:sldLayoutId id="2147483852" r:id="rId1"/>
    <p:sldLayoutId id="2147483841" r:id="rId2"/>
  </p:sldLayoutIdLst>
  <p:hf hdr="0"/>
  <p:txStyles>
    <p:titleStyle>
      <a:lvl1pPr algn="l" defTabSz="914400" rtl="0" eaLnBrk="1" latinLnBrk="0" hangingPunct="1">
        <a:lnSpc>
          <a:spcPct val="90000"/>
        </a:lnSpc>
        <a:spcBef>
          <a:spcPct val="0"/>
        </a:spcBef>
        <a:buNone/>
        <a:defRPr sz="3400" b="1" i="0" kern="1200">
          <a:solidFill>
            <a:schemeClr val="tx2"/>
          </a:solidFill>
          <a:latin typeface="+mj-lt"/>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chemeClr val="tx2"/>
        </a:buClr>
        <a:buFont typeface="Wingdings" pitchFamily="2" charset="2"/>
        <a:buChar char="§"/>
        <a:defRPr sz="24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Clr>
          <a:schemeClr val="tx2"/>
        </a:buClr>
        <a:buFont typeface="Wingdings" pitchFamily="2" charset="2"/>
        <a:buChar char="§"/>
        <a:defRPr sz="1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Wingdings" pitchFamily="2" charset="2"/>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Wingdings" pitchFamily="2" charset="2"/>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www.quentic.de/fachbeitraege/doppelte-wesentlichkeit-und-dnsh-kriterien/" TargetMode="External"/><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8.xml.rels><?xml version="1.0" encoding="UTF-8" standalone="yes"?>
<Relationships xmlns="http://schemas.openxmlformats.org/package/2006/relationships"><Relationship Id="rId2" Type="http://schemas.openxmlformats.org/officeDocument/2006/relationships/hyperlink" Target="https://www.elbe-werkstaetten.de/media/nachhaltigkeitsbericht_elbe-werkstaetten_2021_1.pdf"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www.auswaertiges-amt.de/blob/297434/8d6ab29982767d5a31d2e85464461565/nap-wirtschaft-menschenrechte-data.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7.jpg"/><Relationship Id="rId4" Type="http://schemas.openxmlformats.org/officeDocument/2006/relationships/hyperlink" Target="https://www.overshootday.org/newsroom/country-overshoot-days/"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www.globalcompact.de/"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20.png"/><Relationship Id="rId4" Type="http://schemas.openxmlformats.org/officeDocument/2006/relationships/hyperlink" Target="https://www.globalcompact.de/"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hyperlink" Target="https://www.deutscher-nachhaltigkeitskodex.de/Home/Services/Glossar#N"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6.png"/><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bundesregierung.de/resource/blob/974430/318158/c521116c6e6659b26d5ff286ff67408c/2010-12-07-aktionsplan-csr-data.pdf?download=1"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hyperlink" Target="https://www.csr-in-deutschland.de/DE/Wirtschaft-Menschenrechte/Gesetz-ueber-die-unternehmerischen-Sorgfaltspflichten-in-Lieferketten/gesetz-ueber-die-unternehmerischen-sorgfaltspflichten-in-lieferketten.html"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s://www.csr-in-deutschland.de/DE/Wirtschaft-Menschenrechte/Gesetz-ueber-die-unternehmerischen-Sorgfaltspflichten-in-Lieferketten/gesetz-ueber-die-unternehmerischen-sorgfaltspflichten-in-lieferketten.html" TargetMode="External"/><Relationship Id="rId5" Type="http://schemas.openxmlformats.org/officeDocument/2006/relationships/hyperlink" Target="https://www.bundesregierung.de/resource/blob/974430/318158/c521116c6e6659b26d5ff286ff67408c/2010-12-07-aktionsplan-csr-data.pdf?download=1" TargetMode="Externa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B7F9FE-A170-A54C-897A-58EF5EACB6C2}"/>
              </a:ext>
            </a:extLst>
          </p:cNvPr>
          <p:cNvSpPr>
            <a:spLocks noGrp="1"/>
          </p:cNvSpPr>
          <p:nvPr>
            <p:ph type="title"/>
          </p:nvPr>
        </p:nvSpPr>
        <p:spPr>
          <a:xfrm>
            <a:off x="516827" y="2065867"/>
            <a:ext cx="11158345" cy="2289823"/>
          </a:xfrm>
        </p:spPr>
        <p:txBody>
          <a:bodyPr/>
          <a:lstStyle/>
          <a:p>
            <a:r>
              <a:rPr lang="de-DE" sz="4400" dirty="0"/>
              <a:t>Netzwerk </a:t>
            </a:r>
            <a:r>
              <a:rPr lang="de-DE" sz="4400" dirty="0" smtClean="0"/>
              <a:t>Teilhabequalität</a:t>
            </a:r>
            <a:br>
              <a:rPr lang="de-DE" sz="4400" dirty="0" smtClean="0"/>
            </a:br>
            <a:r>
              <a:rPr lang="de-DE" sz="4400" dirty="0" smtClean="0"/>
              <a:t>27</a:t>
            </a:r>
            <a:r>
              <a:rPr lang="de-DE" sz="4400" dirty="0"/>
              <a:t>. Onlineaustausch </a:t>
            </a:r>
            <a:r>
              <a:rPr lang="de-DE" sz="4400" dirty="0" smtClean="0"/>
              <a:t>– </a:t>
            </a:r>
            <a:br>
              <a:rPr lang="de-DE" sz="4400" dirty="0" smtClean="0"/>
            </a:br>
            <a:r>
              <a:rPr lang="de-DE" sz="4400" dirty="0" smtClean="0"/>
              <a:t>Thema</a:t>
            </a:r>
            <a:r>
              <a:rPr lang="de-DE" sz="4400" dirty="0"/>
              <a:t>: Nachhaltigkeitsberichterstattung</a:t>
            </a:r>
            <a:endParaRPr lang="de-DE" sz="4400" dirty="0"/>
          </a:p>
        </p:txBody>
      </p:sp>
      <p:sp>
        <p:nvSpPr>
          <p:cNvPr id="3" name="Textplatzhalter 2">
            <a:extLst>
              <a:ext uri="{FF2B5EF4-FFF2-40B4-BE49-F238E27FC236}">
                <a16:creationId xmlns:a16="http://schemas.microsoft.com/office/drawing/2014/main" id="{A3EBB789-16E0-BE43-8D98-578F339B22A2}"/>
              </a:ext>
            </a:extLst>
          </p:cNvPr>
          <p:cNvSpPr>
            <a:spLocks noGrp="1"/>
          </p:cNvSpPr>
          <p:nvPr>
            <p:ph type="body" sz="quarter" idx="11"/>
          </p:nvPr>
        </p:nvSpPr>
        <p:spPr>
          <a:xfrm>
            <a:off x="516826" y="4459127"/>
            <a:ext cx="11158345" cy="1157127"/>
          </a:xfrm>
        </p:spPr>
        <p:txBody>
          <a:bodyPr/>
          <a:lstStyle/>
          <a:p>
            <a:r>
              <a:rPr lang="de-DE" dirty="0" smtClean="0"/>
              <a:t>Ilknur Atakli</a:t>
            </a:r>
            <a:endParaRPr lang="de-DE" dirty="0"/>
          </a:p>
        </p:txBody>
      </p:sp>
    </p:spTree>
    <p:extLst>
      <p:ext uri="{BB962C8B-B14F-4D97-AF65-F5344CB8AC3E}">
        <p14:creationId xmlns:p14="http://schemas.microsoft.com/office/powerpoint/2010/main" val="18646206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96B0F94-C480-AB4B-9422-A3C4DF9F2E32}"/>
              </a:ext>
            </a:extLst>
          </p:cNvPr>
          <p:cNvSpPr>
            <a:spLocks noGrp="1"/>
          </p:cNvSpPr>
          <p:nvPr>
            <p:ph idx="13"/>
          </p:nvPr>
        </p:nvSpPr>
        <p:spPr>
          <a:xfrm>
            <a:off x="516827" y="2318178"/>
            <a:ext cx="11158343" cy="2968526"/>
          </a:xfrm>
        </p:spPr>
        <p:txBody>
          <a:bodyPr/>
          <a:lstStyle/>
          <a:p>
            <a:r>
              <a:rPr lang="de-DE" dirty="0"/>
              <a:t>Der Vorschlag der Europäischen Kommission vom 23.02.2022 für eine Richtlinie über die Nachhaltigkeitspflichten von Unternehmen (Europäisches Lieferkettengesetz) ist sogar noch strenger </a:t>
            </a:r>
            <a:r>
              <a:rPr lang="de-DE" dirty="0" smtClean="0"/>
              <a:t>formuliert</a:t>
            </a:r>
          </a:p>
          <a:p>
            <a:r>
              <a:rPr lang="de-DE" dirty="0" smtClean="0"/>
              <a:t>unter </a:t>
            </a:r>
            <a:r>
              <a:rPr lang="de-DE" dirty="0"/>
              <a:t>Umständen schon Unternehmen ab 250 Mitarbeitern und einem Nettoumsatz von 40 Mio. EUR in den Geltungsbereich der Sorgfaltspflichten </a:t>
            </a:r>
            <a:r>
              <a:rPr lang="de-DE" dirty="0" smtClean="0"/>
              <a:t>fallen</a:t>
            </a:r>
            <a:endParaRPr lang="de-DE" dirty="0"/>
          </a:p>
          <a:p>
            <a:endParaRPr lang="de-DE" sz="1400" dirty="0" smtClean="0"/>
          </a:p>
        </p:txBody>
      </p:sp>
      <p:sp>
        <p:nvSpPr>
          <p:cNvPr id="3" name="Fußzeilenplatzhalter 2">
            <a:extLst>
              <a:ext uri="{FF2B5EF4-FFF2-40B4-BE49-F238E27FC236}">
                <a16:creationId xmlns:a16="http://schemas.microsoft.com/office/drawing/2014/main" id="{C9DE9594-BD53-A446-A27C-259E9DF6CEEC}"/>
              </a:ext>
            </a:extLst>
          </p:cNvPr>
          <p:cNvSpPr>
            <a:spLocks noGrp="1"/>
          </p:cNvSpPr>
          <p:nvPr>
            <p:ph type="ftr" sz="quarter" idx="3"/>
          </p:nvPr>
        </p:nvSpPr>
        <p:spPr>
          <a:xfrm>
            <a:off x="3055361" y="6185168"/>
            <a:ext cx="6825486" cy="170036"/>
          </a:xfrm>
        </p:spPr>
        <p:txBody>
          <a:bodyPr/>
          <a:lstStyle/>
          <a:p>
            <a:r>
              <a:rPr lang="en-US" dirty="0" err="1" smtClean="0"/>
              <a:t>Quelle</a:t>
            </a:r>
            <a:r>
              <a:rPr lang="en-US" dirty="0"/>
              <a:t>: </a:t>
            </a:r>
            <a:r>
              <a:rPr lang="de-DE" dirty="0"/>
              <a:t>https://ec.europa.eu/commission/presscorner/detail/de/ip_22_1145</a:t>
            </a:r>
            <a:endParaRPr lang="en-US" dirty="0"/>
          </a:p>
        </p:txBody>
      </p:sp>
      <p:sp>
        <p:nvSpPr>
          <p:cNvPr id="4" name="Foliennummernplatzhalter 3">
            <a:extLst>
              <a:ext uri="{FF2B5EF4-FFF2-40B4-BE49-F238E27FC236}">
                <a16:creationId xmlns:a16="http://schemas.microsoft.com/office/drawing/2014/main" id="{9B178CB1-D913-C545-8644-FE65F0F20AEA}"/>
              </a:ext>
            </a:extLst>
          </p:cNvPr>
          <p:cNvSpPr>
            <a:spLocks noGrp="1"/>
          </p:cNvSpPr>
          <p:nvPr>
            <p:ph type="sldNum" sz="quarter" idx="4"/>
          </p:nvPr>
        </p:nvSpPr>
        <p:spPr/>
        <p:txBody>
          <a:bodyPr/>
          <a:lstStyle/>
          <a:p>
            <a:r>
              <a:rPr lang="en-US"/>
              <a:t>Seite </a:t>
            </a:r>
            <a:fld id="{6D22F896-40B5-4ADD-8801-0D06FADFA095}" type="slidenum">
              <a:rPr lang="en-US" smtClean="0"/>
              <a:pPr/>
              <a:t>10</a:t>
            </a:fld>
            <a:endParaRPr lang="en-US"/>
          </a:p>
        </p:txBody>
      </p:sp>
      <p:sp>
        <p:nvSpPr>
          <p:cNvPr id="5" name="Datumsplatzhalter 4">
            <a:extLst>
              <a:ext uri="{FF2B5EF4-FFF2-40B4-BE49-F238E27FC236}">
                <a16:creationId xmlns:a16="http://schemas.microsoft.com/office/drawing/2014/main" id="{4B324780-DA7A-0244-BB23-2D50BB5118C4}"/>
              </a:ext>
            </a:extLst>
          </p:cNvPr>
          <p:cNvSpPr>
            <a:spLocks noGrp="1"/>
          </p:cNvSpPr>
          <p:nvPr>
            <p:ph type="dt" sz="half" idx="2"/>
          </p:nvPr>
        </p:nvSpPr>
        <p:spPr/>
        <p:txBody>
          <a:bodyPr/>
          <a:lstStyle/>
          <a:p>
            <a:fld id="{D45DEB48-55E7-5347-8659-3F16911D02D3}" type="datetime1">
              <a:rPr lang="de-DE"/>
              <a:pPr/>
              <a:t>20.09.2023</a:t>
            </a:fld>
            <a:endParaRPr lang="de-DE" dirty="0"/>
          </a:p>
        </p:txBody>
      </p:sp>
      <p:sp>
        <p:nvSpPr>
          <p:cNvPr id="6" name="Titel 5">
            <a:extLst>
              <a:ext uri="{FF2B5EF4-FFF2-40B4-BE49-F238E27FC236}">
                <a16:creationId xmlns:a16="http://schemas.microsoft.com/office/drawing/2014/main" id="{5CDFC2FF-EDB8-F74C-9631-956FA1AE9667}"/>
              </a:ext>
            </a:extLst>
          </p:cNvPr>
          <p:cNvSpPr>
            <a:spLocks noGrp="1"/>
          </p:cNvSpPr>
          <p:nvPr>
            <p:ph type="title"/>
          </p:nvPr>
        </p:nvSpPr>
        <p:spPr/>
        <p:txBody>
          <a:bodyPr/>
          <a:lstStyle/>
          <a:p>
            <a:r>
              <a:rPr lang="de-DE" dirty="0" smtClean="0"/>
              <a:t>Das Lieferkettengesetz</a:t>
            </a:r>
            <a:endParaRPr lang="de-DE" dirty="0"/>
          </a:p>
        </p:txBody>
      </p:sp>
      <p:sp>
        <p:nvSpPr>
          <p:cNvPr id="7" name="Textplatzhalter 6">
            <a:extLst>
              <a:ext uri="{FF2B5EF4-FFF2-40B4-BE49-F238E27FC236}">
                <a16:creationId xmlns:a16="http://schemas.microsoft.com/office/drawing/2014/main" id="{3625EF37-7D8B-7D47-A055-3EE0CB40C832}"/>
              </a:ext>
            </a:extLst>
          </p:cNvPr>
          <p:cNvSpPr>
            <a:spLocks noGrp="1"/>
          </p:cNvSpPr>
          <p:nvPr>
            <p:ph type="body" sz="quarter" idx="11"/>
          </p:nvPr>
        </p:nvSpPr>
        <p:spPr/>
        <p:txBody>
          <a:bodyPr/>
          <a:lstStyle/>
          <a:p>
            <a:endParaRPr lang="de-DE" dirty="0"/>
          </a:p>
        </p:txBody>
      </p:sp>
      <p:pic>
        <p:nvPicPr>
          <p:cNvPr id="8" name="Grafik 7"/>
          <p:cNvPicPr>
            <a:picLocks noChangeAspect="1"/>
          </p:cNvPicPr>
          <p:nvPr/>
        </p:nvPicPr>
        <p:blipFill>
          <a:blip r:embed="rId3">
            <a:clrChange>
              <a:clrFrom>
                <a:srgbClr val="F4F4F6"/>
              </a:clrFrom>
              <a:clrTo>
                <a:srgbClr val="F4F4F6">
                  <a:alpha val="0"/>
                </a:srgbClr>
              </a:clrTo>
            </a:clrChange>
          </a:blip>
          <a:stretch>
            <a:fillRect/>
          </a:stretch>
        </p:blipFill>
        <p:spPr>
          <a:xfrm>
            <a:off x="10147745" y="4609304"/>
            <a:ext cx="632139" cy="1285208"/>
          </a:xfrm>
          <a:prstGeom prst="rect">
            <a:avLst/>
          </a:prstGeom>
        </p:spPr>
      </p:pic>
    </p:spTree>
    <p:extLst>
      <p:ext uri="{BB962C8B-B14F-4D97-AF65-F5344CB8AC3E}">
        <p14:creationId xmlns:p14="http://schemas.microsoft.com/office/powerpoint/2010/main" val="42585259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3"/>
          </p:nvPr>
        </p:nvSpPr>
        <p:spPr>
          <a:xfrm>
            <a:off x="516829" y="1909233"/>
            <a:ext cx="11158344" cy="1907593"/>
          </a:xfrm>
        </p:spPr>
        <p:txBody>
          <a:bodyPr/>
          <a:lstStyle/>
          <a:p>
            <a:r>
              <a:rPr lang="de-DE" sz="1800" dirty="0" smtClean="0"/>
              <a:t>neue </a:t>
            </a:r>
            <a:r>
              <a:rPr lang="de-DE" sz="1800" dirty="0"/>
              <a:t>EU-Richtlinie zur </a:t>
            </a:r>
            <a:r>
              <a:rPr lang="de-DE" sz="1800" dirty="0" smtClean="0"/>
              <a:t>Unternehmens-Nachhaltigkeitsberichterstattung</a:t>
            </a:r>
          </a:p>
          <a:p>
            <a:r>
              <a:rPr lang="de-DE" sz="1800" dirty="0"/>
              <a:t>Richtlinie ist am 5. Januar 2023 in Kraft getreten. Die neuen Vorschriften müssen 18 Monate später von den Mitgliedstaaten umgesetzt werden</a:t>
            </a:r>
            <a:r>
              <a:rPr lang="de-DE" sz="1800" dirty="0" smtClean="0"/>
              <a:t>.</a:t>
            </a:r>
          </a:p>
          <a:p>
            <a:r>
              <a:rPr lang="de-DE" sz="1800" dirty="0" smtClean="0"/>
              <a:t>Z</a:t>
            </a:r>
            <a:r>
              <a:rPr lang="de-DE" sz="1800" dirty="0"/>
              <a:t>ahl der berichtspflichtigen Unternehmen </a:t>
            </a:r>
            <a:r>
              <a:rPr lang="de-DE" sz="1800" dirty="0" smtClean="0"/>
              <a:t>steigt Schätzungen </a:t>
            </a:r>
            <a:r>
              <a:rPr lang="de-DE" sz="1800" dirty="0"/>
              <a:t>zufolge EU-weit von 11.600 auf 49.000</a:t>
            </a:r>
            <a:r>
              <a:rPr lang="de-DE" sz="1800" dirty="0" smtClean="0"/>
              <a:t>.</a:t>
            </a:r>
          </a:p>
          <a:p>
            <a:r>
              <a:rPr lang="de-DE" sz="1800" dirty="0"/>
              <a:t>Die Berichtsanforderungen der CSRD</a:t>
            </a:r>
          </a:p>
        </p:txBody>
      </p:sp>
      <p:sp>
        <p:nvSpPr>
          <p:cNvPr id="3" name="Fußzeilenplatzhalter 2"/>
          <p:cNvSpPr>
            <a:spLocks noGrp="1"/>
          </p:cNvSpPr>
          <p:nvPr>
            <p:ph type="ftr" sz="quarter" idx="3"/>
          </p:nvPr>
        </p:nvSpPr>
        <p:spPr/>
        <p:txBody>
          <a:bodyPr/>
          <a:lstStyle/>
          <a:p>
            <a:r>
              <a:rPr lang="en-US" dirty="0" err="1" smtClean="0"/>
              <a:t>Quelle</a:t>
            </a:r>
            <a:r>
              <a:rPr lang="en-US" dirty="0"/>
              <a:t>: https://www.csr-in-deutschland.de/DE/CSR-Allgemein/CSR-Politik/CSR-in-der-EU/Corporate-Sustainability-Reporting-Directive/corporate-sustainability-reporting-directive.html</a:t>
            </a:r>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11</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0.09.2023</a:t>
            </a:fld>
            <a:endParaRPr lang="de-DE" dirty="0"/>
          </a:p>
        </p:txBody>
      </p:sp>
      <p:sp>
        <p:nvSpPr>
          <p:cNvPr id="6" name="Titel 5"/>
          <p:cNvSpPr>
            <a:spLocks noGrp="1"/>
          </p:cNvSpPr>
          <p:nvPr>
            <p:ph type="title"/>
          </p:nvPr>
        </p:nvSpPr>
        <p:spPr/>
        <p:txBody>
          <a:bodyPr/>
          <a:lstStyle/>
          <a:p>
            <a:r>
              <a:rPr lang="de-DE" dirty="0" smtClean="0"/>
              <a:t>CSRD (Corporate </a:t>
            </a:r>
            <a:r>
              <a:rPr lang="de-DE" dirty="0" err="1" smtClean="0"/>
              <a:t>Sustainability</a:t>
            </a:r>
            <a:r>
              <a:rPr lang="de-DE" dirty="0" smtClean="0"/>
              <a:t> Reporting </a:t>
            </a:r>
            <a:r>
              <a:rPr lang="de-DE" dirty="0" err="1" smtClean="0"/>
              <a:t>Directive</a:t>
            </a:r>
            <a:r>
              <a:rPr lang="de-DE" dirty="0" smtClean="0"/>
              <a:t>)</a:t>
            </a:r>
            <a:endParaRPr lang="de-DE" dirty="0"/>
          </a:p>
        </p:txBody>
      </p:sp>
      <p:graphicFrame>
        <p:nvGraphicFramePr>
          <p:cNvPr id="9" name="Diagramm 8"/>
          <p:cNvGraphicFramePr/>
          <p:nvPr>
            <p:extLst>
              <p:ext uri="{D42A27DB-BD31-4B8C-83A1-F6EECF244321}">
                <p14:modId xmlns:p14="http://schemas.microsoft.com/office/powerpoint/2010/main" val="1253438299"/>
              </p:ext>
            </p:extLst>
          </p:nvPr>
        </p:nvGraphicFramePr>
        <p:xfrm>
          <a:off x="853297" y="3884329"/>
          <a:ext cx="9969623" cy="1792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294313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3"/>
          </p:nvPr>
        </p:nvSpPr>
        <p:spPr>
          <a:xfrm>
            <a:off x="516827" y="2069603"/>
            <a:ext cx="11158344" cy="2968526"/>
          </a:xfrm>
        </p:spPr>
        <p:txBody>
          <a:bodyPr/>
          <a:lstStyle/>
          <a:p>
            <a:r>
              <a:rPr lang="de-DE" sz="1600" b="1" dirty="0"/>
              <a:t>Erweiterte, vereinheitlichte Berichtspflicht</a:t>
            </a:r>
            <a:r>
              <a:rPr lang="de-DE" sz="1600" b="1" dirty="0" smtClean="0"/>
              <a:t>: </a:t>
            </a:r>
            <a:r>
              <a:rPr lang="de-DE" sz="1600" dirty="0" smtClean="0"/>
              <a:t>Umfassende und einheitliche Maßnahmen; Stärkere Quantifizierung zur Sicherstellung der Vergleichbarkeit. </a:t>
            </a:r>
            <a:r>
              <a:rPr lang="de-DE" sz="1600" dirty="0"/>
              <a:t>EFRAG (European Financial Reporting Advisory Group) </a:t>
            </a:r>
            <a:r>
              <a:rPr lang="de-DE" sz="1600" dirty="0" smtClean="0"/>
              <a:t>entwickelt unter </a:t>
            </a:r>
            <a:r>
              <a:rPr lang="de-DE" sz="1600" dirty="0"/>
              <a:t>Einbeziehung von Stakeholdern und </a:t>
            </a:r>
            <a:r>
              <a:rPr lang="de-DE" sz="1600" dirty="0" smtClean="0"/>
              <a:t>Expert*innen Kennzahlen unter Einbezug bestehender </a:t>
            </a:r>
            <a:r>
              <a:rPr lang="de-DE" sz="1600" dirty="0"/>
              <a:t>Standards und </a:t>
            </a:r>
            <a:r>
              <a:rPr lang="de-DE" sz="1600" dirty="0" smtClean="0"/>
              <a:t>Regelwerke.</a:t>
            </a:r>
          </a:p>
          <a:p>
            <a:r>
              <a:rPr lang="de-DE" sz="1800" b="1" dirty="0"/>
              <a:t>Neues Verständnis von </a:t>
            </a:r>
            <a:r>
              <a:rPr lang="de-DE" sz="1800" b="1" dirty="0" smtClean="0"/>
              <a:t>Wesentlichkeit: </a:t>
            </a:r>
            <a:r>
              <a:rPr lang="de-DE" sz="1800" dirty="0" smtClean="0"/>
              <a:t>Berichtspflicht betrifft</a:t>
            </a:r>
          </a:p>
          <a:p>
            <a:pPr>
              <a:buFontTx/>
              <a:buChar char="-"/>
            </a:pPr>
            <a:r>
              <a:rPr lang="de-DE" sz="1800" dirty="0" smtClean="0"/>
              <a:t>Auswirkungen </a:t>
            </a:r>
            <a:r>
              <a:rPr lang="de-DE" sz="1800" dirty="0"/>
              <a:t>des eigenen Geschäftsbetriebs auf Mensch und </a:t>
            </a:r>
            <a:r>
              <a:rPr lang="de-DE" sz="1800" dirty="0" smtClean="0"/>
              <a:t>Umwelt</a:t>
            </a:r>
          </a:p>
          <a:p>
            <a:pPr>
              <a:buFontTx/>
              <a:buChar char="-"/>
            </a:pPr>
            <a:r>
              <a:rPr lang="de-DE" sz="1800" dirty="0"/>
              <a:t>Auswirkungen von Nachhaltigkeitsaspekten auf das </a:t>
            </a:r>
            <a:r>
              <a:rPr lang="de-DE" sz="1800" dirty="0" smtClean="0"/>
              <a:t>Unternehmen</a:t>
            </a:r>
          </a:p>
          <a:p>
            <a:r>
              <a:rPr lang="de-DE" sz="1800" b="1" dirty="0" smtClean="0"/>
              <a:t>Externe Prüfung</a:t>
            </a:r>
            <a:r>
              <a:rPr lang="de-DE" sz="1800" b="1" dirty="0"/>
              <a:t>: </a:t>
            </a:r>
            <a:r>
              <a:rPr lang="de-DE" sz="1800" dirty="0"/>
              <a:t>Hierfür legt die EU-Kommission Prüfstandards </a:t>
            </a:r>
            <a:r>
              <a:rPr lang="de-DE" sz="1800" dirty="0" smtClean="0"/>
              <a:t>fest </a:t>
            </a:r>
          </a:p>
          <a:p>
            <a:r>
              <a:rPr lang="de-DE" sz="1800" b="1" dirty="0"/>
              <a:t>Teil des </a:t>
            </a:r>
            <a:r>
              <a:rPr lang="de-DE" sz="1800" b="1" dirty="0" smtClean="0"/>
              <a:t>Lageberichts</a:t>
            </a:r>
          </a:p>
          <a:p>
            <a:r>
              <a:rPr lang="de-DE" sz="1800" b="1" dirty="0"/>
              <a:t>Einheitliches elektronisches Berichtsformat</a:t>
            </a:r>
            <a:endParaRPr lang="de-DE" sz="1800" b="1" dirty="0" smtClean="0"/>
          </a:p>
          <a:p>
            <a:endParaRPr lang="de-DE" sz="1800" dirty="0"/>
          </a:p>
        </p:txBody>
      </p:sp>
      <p:sp>
        <p:nvSpPr>
          <p:cNvPr id="3" name="Fußzeilenplatzhalter 2"/>
          <p:cNvSpPr>
            <a:spLocks noGrp="1"/>
          </p:cNvSpPr>
          <p:nvPr>
            <p:ph type="ftr" sz="quarter" idx="3"/>
          </p:nvPr>
        </p:nvSpPr>
        <p:spPr/>
        <p:txBody>
          <a:bodyPr/>
          <a:lstStyle/>
          <a:p>
            <a:r>
              <a:rPr lang="en-US" dirty="0" err="1" smtClean="0"/>
              <a:t>Quelle</a:t>
            </a:r>
            <a:r>
              <a:rPr lang="en-US" dirty="0"/>
              <a:t>: https://www.csr-in-deutschland.de/DE/CSR-Allgemein/CSR-Politik/CSR-in-der-EU/Corporate-Sustainability-Reporting-Directive/corporate-sustainability-reporting-directive.html</a:t>
            </a:r>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12</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0.09.2023</a:t>
            </a:fld>
            <a:endParaRPr lang="de-DE" dirty="0"/>
          </a:p>
        </p:txBody>
      </p:sp>
      <p:sp>
        <p:nvSpPr>
          <p:cNvPr id="6" name="Titel 5"/>
          <p:cNvSpPr>
            <a:spLocks noGrp="1"/>
          </p:cNvSpPr>
          <p:nvPr>
            <p:ph type="title"/>
          </p:nvPr>
        </p:nvSpPr>
        <p:spPr/>
        <p:txBody>
          <a:bodyPr/>
          <a:lstStyle/>
          <a:p>
            <a:r>
              <a:rPr lang="de-DE" dirty="0" smtClean="0"/>
              <a:t>Neuerungen</a:t>
            </a:r>
            <a:endParaRPr lang="de-DE" dirty="0"/>
          </a:p>
        </p:txBody>
      </p:sp>
    </p:spTree>
    <p:extLst>
      <p:ext uri="{BB962C8B-B14F-4D97-AF65-F5344CB8AC3E}">
        <p14:creationId xmlns:p14="http://schemas.microsoft.com/office/powerpoint/2010/main" val="42795067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Inhaltsplatzhalter 7"/>
          <p:cNvPicPr>
            <a:picLocks noGrp="1" noChangeAspect="1"/>
          </p:cNvPicPr>
          <p:nvPr>
            <p:ph idx="13"/>
          </p:nvPr>
        </p:nvPicPr>
        <p:blipFill>
          <a:blip r:embed="rId2">
            <a:extLst>
              <a:ext uri="{28A0092B-C50C-407E-A947-70E740481C1C}">
                <a14:useLocalDpi xmlns:a14="http://schemas.microsoft.com/office/drawing/2010/main" val="0"/>
              </a:ext>
            </a:extLst>
          </a:blip>
          <a:stretch>
            <a:fillRect/>
          </a:stretch>
        </p:blipFill>
        <p:spPr>
          <a:xfrm>
            <a:off x="3542459" y="354629"/>
            <a:ext cx="6782838" cy="5340119"/>
          </a:xfrm>
        </p:spPr>
      </p:pic>
      <p:sp>
        <p:nvSpPr>
          <p:cNvPr id="3" name="Fußzeilenplatzhalter 2"/>
          <p:cNvSpPr>
            <a:spLocks noGrp="1"/>
          </p:cNvSpPr>
          <p:nvPr>
            <p:ph type="ftr" sz="quarter" idx="3"/>
          </p:nvPr>
        </p:nvSpPr>
        <p:spPr/>
        <p:txBody>
          <a:bodyPr/>
          <a:lstStyle/>
          <a:p>
            <a:r>
              <a:rPr lang="en-US" dirty="0" err="1" smtClean="0"/>
              <a:t>Quelle</a:t>
            </a:r>
            <a:r>
              <a:rPr lang="en-US" dirty="0"/>
              <a:t>: </a:t>
            </a:r>
            <a:r>
              <a:rPr lang="en-US" dirty="0">
                <a:hlinkClick r:id="rId3"/>
              </a:rPr>
              <a:t>https://www.quentic.de/fachbeitraege/doppelte-wesentlichkeit-und-dnsh-kriterien</a:t>
            </a:r>
            <a:r>
              <a:rPr lang="en-US" dirty="0" smtClean="0">
                <a:hlinkClick r:id="rId3"/>
              </a:rPr>
              <a:t>/</a:t>
            </a:r>
            <a:r>
              <a:rPr lang="en-US" dirty="0" smtClean="0"/>
              <a:t> </a:t>
            </a:r>
            <a:endParaRPr lang="en-US" dirty="0"/>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13</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0.09.2023</a:t>
            </a:fld>
            <a:endParaRPr lang="de-DE" dirty="0"/>
          </a:p>
        </p:txBody>
      </p:sp>
      <p:sp>
        <p:nvSpPr>
          <p:cNvPr id="6" name="Titel 5"/>
          <p:cNvSpPr>
            <a:spLocks noGrp="1"/>
          </p:cNvSpPr>
          <p:nvPr>
            <p:ph type="title"/>
          </p:nvPr>
        </p:nvSpPr>
        <p:spPr>
          <a:xfrm>
            <a:off x="516829" y="1244606"/>
            <a:ext cx="2022185" cy="465764"/>
          </a:xfrm>
        </p:spPr>
        <p:txBody>
          <a:bodyPr/>
          <a:lstStyle/>
          <a:p>
            <a:r>
              <a:rPr lang="de-DE" dirty="0" smtClean="0"/>
              <a:t>Doppelte Wesentlichkeit</a:t>
            </a:r>
            <a:endParaRPr lang="de-DE" dirty="0"/>
          </a:p>
        </p:txBody>
      </p:sp>
    </p:spTree>
    <p:extLst>
      <p:ext uri="{BB962C8B-B14F-4D97-AF65-F5344CB8AC3E}">
        <p14:creationId xmlns:p14="http://schemas.microsoft.com/office/powerpoint/2010/main" val="21936961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Inhaltsplatzhalter 1">
            <a:extLst>
              <a:ext uri="{FF2B5EF4-FFF2-40B4-BE49-F238E27FC236}">
                <a16:creationId xmlns:a16="http://schemas.microsoft.com/office/drawing/2014/main" id="{89445852-4B6A-0E9D-85B9-E65F583672C4}"/>
              </a:ext>
            </a:extLst>
          </p:cNvPr>
          <p:cNvGraphicFramePr>
            <a:graphicFrameLocks noGrp="1"/>
          </p:cNvGraphicFramePr>
          <p:nvPr>
            <p:ph idx="13"/>
            <p:extLst>
              <p:ext uri="{D42A27DB-BD31-4B8C-83A1-F6EECF244321}">
                <p14:modId xmlns:p14="http://schemas.microsoft.com/office/powerpoint/2010/main" val="1426589059"/>
              </p:ext>
            </p:extLst>
          </p:nvPr>
        </p:nvGraphicFramePr>
        <p:xfrm>
          <a:off x="516828" y="2462530"/>
          <a:ext cx="11156950" cy="29686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ußzeilenplatzhalter 2"/>
          <p:cNvSpPr>
            <a:spLocks noGrp="1"/>
          </p:cNvSpPr>
          <p:nvPr>
            <p:ph type="ftr" sz="quarter" idx="3"/>
          </p:nvPr>
        </p:nvSpPr>
        <p:spPr/>
        <p:txBody>
          <a:bodyPr vert="horz" lIns="91440" tIns="45720" rIns="91440" bIns="45720" rtlCol="0" anchor="ctr">
            <a:normAutofit fontScale="62500" lnSpcReduction="20000"/>
          </a:bodyPr>
          <a:lstStyle/>
          <a:p>
            <a:pPr algn="r" defTabSz="457200">
              <a:spcAft>
                <a:spcPts val="600"/>
              </a:spcAft>
            </a:pPr>
            <a:r>
              <a:rPr lang="en-US" sz="1000">
                <a:solidFill>
                  <a:schemeClr val="tx1">
                    <a:tint val="75000"/>
                  </a:schemeClr>
                </a:solidFill>
              </a:rPr>
              <a:t>Quelle:https://www.wpk.de/neu-auf-wpkde/alle/2022/sv/efrag-sustainability-reporting-board-verabschiedet-set-1-der-european-sustainability-reporting-stan/</a:t>
            </a:r>
          </a:p>
        </p:txBody>
      </p:sp>
      <p:sp>
        <p:nvSpPr>
          <p:cNvPr id="4" name="Foliennummernplatzhalter 3"/>
          <p:cNvSpPr>
            <a:spLocks noGrp="1"/>
          </p:cNvSpPr>
          <p:nvPr>
            <p:ph type="sldNum" sz="quarter" idx="4"/>
          </p:nvPr>
        </p:nvSpPr>
        <p:spPr/>
        <p:txBody>
          <a:bodyPr vert="horz" lIns="91440" tIns="45720" rIns="91440" bIns="45720" rtlCol="0" anchor="ctr">
            <a:normAutofit fontScale="47500" lnSpcReduction="20000"/>
          </a:bodyPr>
          <a:lstStyle/>
          <a:p>
            <a:pPr defTabSz="457200">
              <a:spcAft>
                <a:spcPts val="600"/>
              </a:spcAft>
            </a:pPr>
            <a:r>
              <a:rPr lang="en-US" sz="1000">
                <a:solidFill>
                  <a:schemeClr val="tx1">
                    <a:tint val="75000"/>
                  </a:schemeClr>
                </a:solidFill>
              </a:rPr>
              <a:t>Seite </a:t>
            </a:r>
            <a:fld id="{6D22F896-40B5-4ADD-8801-0D06FADFA095}" type="slidenum">
              <a:rPr lang="en-US" sz="1000" smtClean="0">
                <a:solidFill>
                  <a:schemeClr val="tx1">
                    <a:tint val="75000"/>
                  </a:schemeClr>
                </a:solidFill>
              </a:rPr>
              <a:pPr defTabSz="457200">
                <a:spcAft>
                  <a:spcPts val="600"/>
                </a:spcAft>
              </a:pPr>
              <a:t>14</a:t>
            </a:fld>
            <a:endParaRPr lang="en-US" sz="1000">
              <a:solidFill>
                <a:schemeClr val="tx1">
                  <a:tint val="75000"/>
                </a:schemeClr>
              </a:solidFill>
            </a:endParaRPr>
          </a:p>
        </p:txBody>
      </p:sp>
      <p:sp>
        <p:nvSpPr>
          <p:cNvPr id="5" name="Datumsplatzhalter 4"/>
          <p:cNvSpPr>
            <a:spLocks noGrp="1"/>
          </p:cNvSpPr>
          <p:nvPr>
            <p:ph type="dt" sz="half" idx="2"/>
          </p:nvPr>
        </p:nvSpPr>
        <p:spPr/>
        <p:txBody>
          <a:bodyPr vert="horz" lIns="91440" tIns="45720" rIns="91440" bIns="45720" rtlCol="0" anchor="ctr">
            <a:normAutofit fontScale="62500" lnSpcReduction="20000"/>
          </a:bodyPr>
          <a:lstStyle/>
          <a:p>
            <a:pPr defTabSz="457200">
              <a:spcAft>
                <a:spcPts val="600"/>
              </a:spcAft>
            </a:pPr>
            <a:fld id="{D45DEB48-55E7-5347-8659-3F16911D02D3}" type="datetime1">
              <a:rPr lang="de-DE" sz="1000" smtClean="0">
                <a:solidFill>
                  <a:schemeClr val="tx1">
                    <a:tint val="75000"/>
                  </a:schemeClr>
                </a:solidFill>
              </a:rPr>
              <a:pPr defTabSz="457200">
                <a:spcAft>
                  <a:spcPts val="600"/>
                </a:spcAft>
              </a:pPr>
              <a:t>20.09.2023</a:t>
            </a:fld>
            <a:endParaRPr lang="de-DE" sz="1000">
              <a:solidFill>
                <a:schemeClr val="tx1">
                  <a:tint val="75000"/>
                </a:schemeClr>
              </a:solidFill>
            </a:endParaRPr>
          </a:p>
        </p:txBody>
      </p:sp>
      <p:sp>
        <p:nvSpPr>
          <p:cNvPr id="6" name="Titel 5"/>
          <p:cNvSpPr>
            <a:spLocks noGrp="1"/>
          </p:cNvSpPr>
          <p:nvPr>
            <p:ph type="title"/>
          </p:nvPr>
        </p:nvSpPr>
        <p:spPr/>
        <p:txBody>
          <a:bodyPr vert="horz" lIns="228600" tIns="228600" rIns="228600" bIns="228600" rtlCol="0" anchor="ctr">
            <a:normAutofit fontScale="90000"/>
          </a:bodyPr>
          <a:lstStyle/>
          <a:p>
            <a:r>
              <a:rPr lang="en-US" sz="4000" b="0" i="0" kern="1200" cap="none" spc="-150">
                <a:effectLst/>
                <a:latin typeface="+mj-lt"/>
                <a:ea typeface="+mj-ea"/>
                <a:cs typeface="+mj-cs"/>
              </a:rPr>
              <a:t>Neuerungen</a:t>
            </a:r>
          </a:p>
        </p:txBody>
      </p:sp>
      <p:sp>
        <p:nvSpPr>
          <p:cNvPr id="2" name="Textplatzhalter 1"/>
          <p:cNvSpPr>
            <a:spLocks noGrp="1"/>
          </p:cNvSpPr>
          <p:nvPr>
            <p:ph type="body" sz="quarter" idx="11"/>
          </p:nvPr>
        </p:nvSpPr>
        <p:spPr/>
        <p:txBody>
          <a:bodyPr/>
          <a:lstStyle/>
          <a:p>
            <a:r>
              <a:rPr lang="de-DE" sz="1600" b="1" dirty="0"/>
              <a:t>Erweiterte, vereinheitlichte Berichtspflicht: </a:t>
            </a:r>
            <a:r>
              <a:rPr lang="de-DE" sz="1600" dirty="0"/>
              <a:t>EFRAG (European Financial Reporting Advisory Group) entwickelt unter Einbeziehung von Stakeholdern und Expert*innen Kennzahlen unter Einbezug bestehender Standards und Regelwerke.</a:t>
            </a:r>
            <a:endParaRPr lang="en-US" sz="1600" dirty="0"/>
          </a:p>
          <a:p>
            <a:endParaRPr lang="de-DE" dirty="0"/>
          </a:p>
        </p:txBody>
      </p:sp>
    </p:spTree>
    <p:extLst>
      <p:ext uri="{BB962C8B-B14F-4D97-AF65-F5344CB8AC3E}">
        <p14:creationId xmlns:p14="http://schemas.microsoft.com/office/powerpoint/2010/main" val="30724554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Inhaltsplatzhalter 8"/>
          <p:cNvGraphicFramePr>
            <a:graphicFrameLocks noGrp="1"/>
          </p:cNvGraphicFramePr>
          <p:nvPr>
            <p:ph idx="13"/>
            <p:extLst>
              <p:ext uri="{D42A27DB-BD31-4B8C-83A1-F6EECF244321}">
                <p14:modId xmlns:p14="http://schemas.microsoft.com/office/powerpoint/2010/main" val="1160602586"/>
              </p:ext>
            </p:extLst>
          </p:nvPr>
        </p:nvGraphicFramePr>
        <p:xfrm>
          <a:off x="517525" y="2317750"/>
          <a:ext cx="11156950" cy="29686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ußzeilenplatzhalter 2"/>
          <p:cNvSpPr>
            <a:spLocks noGrp="1"/>
          </p:cNvSpPr>
          <p:nvPr>
            <p:ph type="ftr" sz="quarter" idx="3"/>
          </p:nvPr>
        </p:nvSpPr>
        <p:spPr/>
        <p:txBody>
          <a:bodyPr/>
          <a:lstStyle/>
          <a:p>
            <a:r>
              <a:rPr lang="en-US" smtClean="0"/>
              <a:t>Projekt XXX</a:t>
            </a:r>
            <a:endParaRPr lang="en-US"/>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15</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5.09.2023</a:t>
            </a:fld>
            <a:endParaRPr lang="de-DE" dirty="0"/>
          </a:p>
        </p:txBody>
      </p:sp>
      <p:sp>
        <p:nvSpPr>
          <p:cNvPr id="6" name="Titel 5"/>
          <p:cNvSpPr>
            <a:spLocks noGrp="1"/>
          </p:cNvSpPr>
          <p:nvPr>
            <p:ph type="title"/>
          </p:nvPr>
        </p:nvSpPr>
        <p:spPr/>
        <p:txBody>
          <a:bodyPr/>
          <a:lstStyle/>
          <a:p>
            <a:r>
              <a:rPr lang="de-DE" sz="2800" dirty="0" smtClean="0"/>
              <a:t>Warum ist Nachhaltigkeit für soziale Organisationen schwierig?</a:t>
            </a:r>
            <a:endParaRPr lang="de-DE" sz="2800" dirty="0"/>
          </a:p>
        </p:txBody>
      </p:sp>
      <p:sp>
        <p:nvSpPr>
          <p:cNvPr id="7" name="Textplatzhalter 6"/>
          <p:cNvSpPr>
            <a:spLocks noGrp="1"/>
          </p:cNvSpPr>
          <p:nvPr>
            <p:ph type="body" sz="quarter" idx="11"/>
          </p:nvPr>
        </p:nvSpPr>
        <p:spPr/>
        <p:txBody>
          <a:bodyPr/>
          <a:lstStyle/>
          <a:p>
            <a:endParaRPr lang="de-DE" dirty="0"/>
          </a:p>
        </p:txBody>
      </p:sp>
    </p:spTree>
    <p:extLst>
      <p:ext uri="{BB962C8B-B14F-4D97-AF65-F5344CB8AC3E}">
        <p14:creationId xmlns:p14="http://schemas.microsoft.com/office/powerpoint/2010/main" val="13322111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3"/>
          </p:nvPr>
        </p:nvSpPr>
        <p:spPr>
          <a:xfrm>
            <a:off x="516828" y="2318178"/>
            <a:ext cx="11158344" cy="3212184"/>
          </a:xfrm>
        </p:spPr>
        <p:txBody>
          <a:bodyPr numCol="2"/>
          <a:lstStyle/>
          <a:p>
            <a:r>
              <a:rPr lang="de-DE" sz="1800" dirty="0" smtClean="0"/>
              <a:t>Es </a:t>
            </a:r>
            <a:r>
              <a:rPr lang="de-DE" sz="1800" dirty="0"/>
              <a:t>bewegt sich etwas, aber das Thema kommt als strategisches Thema in </a:t>
            </a:r>
            <a:r>
              <a:rPr lang="de-DE" sz="1800" dirty="0" smtClean="0"/>
              <a:t>den meisten </a:t>
            </a:r>
            <a:r>
              <a:rPr lang="de-DE" sz="1800" dirty="0" err="1" smtClean="0"/>
              <a:t>WfbM</a:t>
            </a:r>
            <a:r>
              <a:rPr lang="de-DE" sz="1800" dirty="0" smtClean="0"/>
              <a:t> </a:t>
            </a:r>
            <a:r>
              <a:rPr lang="de-DE" sz="1800" dirty="0"/>
              <a:t>erst an.</a:t>
            </a:r>
          </a:p>
          <a:p>
            <a:r>
              <a:rPr lang="de-DE" sz="1800" dirty="0" smtClean="0"/>
              <a:t>Sehr </a:t>
            </a:r>
            <a:r>
              <a:rPr lang="de-DE" sz="1800" dirty="0"/>
              <a:t>unterschiedliche Entwicklungsstände</a:t>
            </a:r>
          </a:p>
          <a:p>
            <a:r>
              <a:rPr lang="de-DE" sz="1800" dirty="0" smtClean="0"/>
              <a:t>Einzelne </a:t>
            </a:r>
            <a:r>
              <a:rPr lang="de-DE" sz="1800" dirty="0"/>
              <a:t>Einrichtungen mit Pilotcharakter erstellen und </a:t>
            </a:r>
            <a:r>
              <a:rPr lang="de-DE" sz="1800" dirty="0" smtClean="0"/>
              <a:t>veröffentlichen Nachhaltigkeitsberichte</a:t>
            </a:r>
            <a:endParaRPr lang="de-DE" sz="1800" dirty="0"/>
          </a:p>
          <a:p>
            <a:r>
              <a:rPr lang="de-DE" sz="1800" dirty="0" smtClean="0"/>
              <a:t>Kein </a:t>
            </a:r>
            <a:r>
              <a:rPr lang="de-DE" sz="1800" dirty="0"/>
              <a:t>flächendeckender Einsatz von </a:t>
            </a:r>
            <a:r>
              <a:rPr lang="de-DE" sz="1800" dirty="0" smtClean="0"/>
              <a:t>Instrumenten zum Nachhaltigkeitsmanagement </a:t>
            </a:r>
            <a:r>
              <a:rPr lang="de-DE" sz="1800" dirty="0"/>
              <a:t>und </a:t>
            </a:r>
            <a:r>
              <a:rPr lang="de-DE" sz="1800" dirty="0" smtClean="0"/>
              <a:t>Nachhaltigkeitscontrolling</a:t>
            </a:r>
            <a:r>
              <a:rPr lang="de-DE" sz="1800" dirty="0"/>
              <a:t>.</a:t>
            </a:r>
          </a:p>
          <a:p>
            <a:r>
              <a:rPr lang="de-DE" sz="1800" dirty="0" smtClean="0"/>
              <a:t>Werkstätten </a:t>
            </a:r>
            <a:r>
              <a:rPr lang="de-DE" sz="1800" dirty="0"/>
              <a:t>großer Träger sind z.T. in </a:t>
            </a:r>
            <a:r>
              <a:rPr lang="de-DE" sz="1800" dirty="0" smtClean="0"/>
              <a:t>deren Nachhaltigkeitskonzepte </a:t>
            </a:r>
            <a:r>
              <a:rPr lang="de-DE" sz="1800" dirty="0"/>
              <a:t>und </a:t>
            </a:r>
            <a:r>
              <a:rPr lang="de-DE" sz="1800" dirty="0" smtClean="0"/>
              <a:t>–Berichte eingebunden</a:t>
            </a:r>
            <a:endParaRPr lang="de-DE" sz="1800" dirty="0"/>
          </a:p>
          <a:p>
            <a:r>
              <a:rPr lang="de-DE" sz="1800" dirty="0" smtClean="0"/>
              <a:t>Das </a:t>
            </a:r>
            <a:r>
              <a:rPr lang="de-DE" sz="1800" dirty="0"/>
              <a:t>Thema </a:t>
            </a:r>
            <a:r>
              <a:rPr lang="de-DE" sz="1800" dirty="0" smtClean="0"/>
              <a:t>Nachhaltigkeit </a:t>
            </a:r>
            <a:r>
              <a:rPr lang="de-DE" sz="1800" dirty="0"/>
              <a:t>wird u.a. von folgenden Faktoren getriggert</a:t>
            </a:r>
            <a:r>
              <a:rPr lang="de-DE" sz="1800" dirty="0" smtClean="0"/>
              <a:t>: ▸ </a:t>
            </a:r>
            <a:r>
              <a:rPr lang="de-DE" sz="1800" dirty="0"/>
              <a:t>Persönliches Interesse </a:t>
            </a:r>
            <a:r>
              <a:rPr lang="de-DE" sz="1800" dirty="0" smtClean="0"/>
              <a:t>Unternehmensleitung, Anforderungen </a:t>
            </a:r>
            <a:r>
              <a:rPr lang="de-DE" sz="1800" dirty="0"/>
              <a:t>der </a:t>
            </a:r>
            <a:r>
              <a:rPr lang="de-DE" sz="1800" dirty="0" smtClean="0"/>
              <a:t>Auftraggeber, Vermutete Einsparpotenziale, Wettbewerbsdruck, Verfügbarkeit </a:t>
            </a:r>
            <a:r>
              <a:rPr lang="de-DE" sz="1800" dirty="0"/>
              <a:t>von </a:t>
            </a:r>
            <a:r>
              <a:rPr lang="de-DE" sz="1800" dirty="0" smtClean="0"/>
              <a:t>Fördermitteln</a:t>
            </a:r>
            <a:endParaRPr lang="de-DE" sz="1800" dirty="0"/>
          </a:p>
          <a:p>
            <a:r>
              <a:rPr lang="de-DE" sz="1800" dirty="0" smtClean="0"/>
              <a:t>Fokus</a:t>
            </a:r>
            <a:r>
              <a:rPr lang="de-DE" sz="1800" dirty="0"/>
              <a:t>: Ressourcenverbrauch und Beschaffung.</a:t>
            </a:r>
            <a:endParaRPr lang="de-DE" sz="1800" dirty="0"/>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16</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2.09.2023</a:t>
            </a:fld>
            <a:endParaRPr lang="de-DE" dirty="0"/>
          </a:p>
        </p:txBody>
      </p:sp>
      <p:sp>
        <p:nvSpPr>
          <p:cNvPr id="6" name="Titel 5"/>
          <p:cNvSpPr>
            <a:spLocks noGrp="1"/>
          </p:cNvSpPr>
          <p:nvPr>
            <p:ph type="title"/>
          </p:nvPr>
        </p:nvSpPr>
        <p:spPr/>
        <p:txBody>
          <a:bodyPr/>
          <a:lstStyle/>
          <a:p>
            <a:r>
              <a:rPr lang="de-DE" sz="2800" dirty="0"/>
              <a:t>Entwicklungsstände: Nachhaltigkeitsmanagement in </a:t>
            </a:r>
            <a:r>
              <a:rPr lang="de-DE" sz="2800" dirty="0" err="1"/>
              <a:t>WfbM</a:t>
            </a:r>
            <a:endParaRPr lang="de-DE" sz="2800" dirty="0"/>
          </a:p>
        </p:txBody>
      </p:sp>
      <p:sp>
        <p:nvSpPr>
          <p:cNvPr id="7" name="Textplatzhalter 6"/>
          <p:cNvSpPr>
            <a:spLocks noGrp="1"/>
          </p:cNvSpPr>
          <p:nvPr>
            <p:ph type="body" sz="quarter" idx="11"/>
          </p:nvPr>
        </p:nvSpPr>
        <p:spPr/>
        <p:txBody>
          <a:bodyPr/>
          <a:lstStyle/>
          <a:p>
            <a:endParaRPr lang="de-DE" dirty="0"/>
          </a:p>
        </p:txBody>
      </p:sp>
    </p:spTree>
    <p:extLst>
      <p:ext uri="{BB962C8B-B14F-4D97-AF65-F5344CB8AC3E}">
        <p14:creationId xmlns:p14="http://schemas.microsoft.com/office/powerpoint/2010/main" val="41903093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Inhaltsplatzhalter 9"/>
          <p:cNvGraphicFramePr>
            <a:graphicFrameLocks noGrp="1"/>
          </p:cNvGraphicFramePr>
          <p:nvPr>
            <p:ph idx="13"/>
            <p:extLst>
              <p:ext uri="{D42A27DB-BD31-4B8C-83A1-F6EECF244321}">
                <p14:modId xmlns:p14="http://schemas.microsoft.com/office/powerpoint/2010/main" val="3823018999"/>
              </p:ext>
            </p:extLst>
          </p:nvPr>
        </p:nvGraphicFramePr>
        <p:xfrm>
          <a:off x="517525" y="2317750"/>
          <a:ext cx="11156950" cy="3213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17</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5.09.2023</a:t>
            </a:fld>
            <a:endParaRPr lang="de-DE" dirty="0"/>
          </a:p>
        </p:txBody>
      </p:sp>
      <p:sp>
        <p:nvSpPr>
          <p:cNvPr id="6" name="Titel 5"/>
          <p:cNvSpPr>
            <a:spLocks noGrp="1"/>
          </p:cNvSpPr>
          <p:nvPr>
            <p:ph type="title"/>
          </p:nvPr>
        </p:nvSpPr>
        <p:spPr/>
        <p:txBody>
          <a:bodyPr/>
          <a:lstStyle/>
          <a:p>
            <a:r>
              <a:rPr lang="de-DE" sz="2800" dirty="0" smtClean="0"/>
              <a:t>Gründe für die Nachhaltigkeitsberichterstattung in </a:t>
            </a:r>
            <a:r>
              <a:rPr lang="de-DE" sz="2800" dirty="0" err="1" smtClean="0"/>
              <a:t>WfbM</a:t>
            </a:r>
            <a:endParaRPr lang="de-DE" sz="2800" dirty="0"/>
          </a:p>
        </p:txBody>
      </p:sp>
      <p:sp>
        <p:nvSpPr>
          <p:cNvPr id="7" name="Textplatzhalter 6"/>
          <p:cNvSpPr>
            <a:spLocks noGrp="1"/>
          </p:cNvSpPr>
          <p:nvPr>
            <p:ph type="body" sz="quarter" idx="11"/>
          </p:nvPr>
        </p:nvSpPr>
        <p:spPr/>
        <p:txBody>
          <a:bodyPr/>
          <a:lstStyle/>
          <a:p>
            <a:endParaRPr lang="de-DE" dirty="0"/>
          </a:p>
        </p:txBody>
      </p:sp>
    </p:spTree>
    <p:extLst>
      <p:ext uri="{BB962C8B-B14F-4D97-AF65-F5344CB8AC3E}">
        <p14:creationId xmlns:p14="http://schemas.microsoft.com/office/powerpoint/2010/main" val="233882613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3"/>
          </p:nvPr>
        </p:nvSpPr>
        <p:spPr>
          <a:xfrm>
            <a:off x="516828" y="2133539"/>
            <a:ext cx="11158344" cy="2968526"/>
          </a:xfrm>
        </p:spPr>
        <p:txBody>
          <a:bodyPr/>
          <a:lstStyle/>
          <a:p>
            <a:r>
              <a:rPr lang="de-DE" sz="1600" dirty="0" smtClean="0"/>
              <a:t>Die </a:t>
            </a:r>
            <a:r>
              <a:rPr lang="de-DE" sz="1600" dirty="0"/>
              <a:t>Elbe-Werkstätten GmbH fühlt sich als stadtnahes Unternehmen den Zielen des Klimaplans der Freien- und Hansestadt Hamburg, den </a:t>
            </a:r>
            <a:r>
              <a:rPr lang="de-DE" sz="1600" b="1" dirty="0"/>
              <a:t>Kohlendioxid-Ausstoß (CO2) bis 2030 um 55 Prozent gegenüber dem Basisjahr 2012 abzusenken und bis 2050 Klimaneutralität herzustellen</a:t>
            </a:r>
            <a:r>
              <a:rPr lang="de-DE" sz="1600" dirty="0"/>
              <a:t>, </a:t>
            </a:r>
            <a:r>
              <a:rPr lang="de-DE" sz="1600" dirty="0" smtClean="0"/>
              <a:t>verpflichtet.</a:t>
            </a:r>
          </a:p>
          <a:p>
            <a:r>
              <a:rPr lang="de-DE" sz="1600" dirty="0" smtClean="0"/>
              <a:t>Ein </a:t>
            </a:r>
            <a:r>
              <a:rPr lang="de-DE" sz="1600" b="1" dirty="0"/>
              <a:t>Klimaschutzkonzept</a:t>
            </a:r>
            <a:r>
              <a:rPr lang="de-DE" sz="1600" dirty="0"/>
              <a:t> wird derzeit </a:t>
            </a:r>
            <a:r>
              <a:rPr lang="de-DE" sz="1600" b="1" dirty="0"/>
              <a:t>umgesetzt</a:t>
            </a:r>
            <a:r>
              <a:rPr lang="de-DE" sz="1600" dirty="0"/>
              <a:t>. Auf der Basis einer </a:t>
            </a:r>
            <a:r>
              <a:rPr lang="de-DE" sz="1600" b="1" dirty="0"/>
              <a:t>Potentialanalyse</a:t>
            </a:r>
            <a:r>
              <a:rPr lang="de-DE" sz="1600" dirty="0"/>
              <a:t> des Ist-Bestandes wurden kurz- und mittelfristig technisch und wirtschaftlich umsetzbare Energieeinsparpotentiale sowie Möglichkeiten zur Steigerung der </a:t>
            </a:r>
            <a:r>
              <a:rPr lang="de-DE" sz="1600" b="1" dirty="0"/>
              <a:t>Energieeffizienz</a:t>
            </a:r>
            <a:r>
              <a:rPr lang="de-DE" sz="1600" dirty="0"/>
              <a:t> unter anderem durch Nutzung der </a:t>
            </a:r>
            <a:r>
              <a:rPr lang="de-DE" sz="1600" b="1" dirty="0"/>
              <a:t>erneuerbaren Energien </a:t>
            </a:r>
            <a:r>
              <a:rPr lang="de-DE" sz="1600" dirty="0"/>
              <a:t>kategorisiert und Umsetzungsschritte </a:t>
            </a:r>
            <a:r>
              <a:rPr lang="de-DE" sz="1600" dirty="0" smtClean="0"/>
              <a:t>erarbeitet.</a:t>
            </a:r>
          </a:p>
          <a:p>
            <a:r>
              <a:rPr lang="de-DE" sz="1600" dirty="0"/>
              <a:t>Durch Gebäudesanierungen und/oder Ersatzinvestitionen in Gebäudeteile sowie in technische Anlagen zum Ende der jeweiligen Standzeit können mittel- und langfristig eine </a:t>
            </a:r>
            <a:r>
              <a:rPr lang="de-DE" sz="1600" b="1" dirty="0"/>
              <a:t>Reduktion</a:t>
            </a:r>
            <a:r>
              <a:rPr lang="de-DE" sz="1600" dirty="0"/>
              <a:t> </a:t>
            </a:r>
            <a:r>
              <a:rPr lang="de-DE" sz="1600" b="1" dirty="0"/>
              <a:t>von ca. 1.300 Tonnen Kohlendioxid-Emissionen</a:t>
            </a:r>
            <a:r>
              <a:rPr lang="de-DE" sz="1600" dirty="0"/>
              <a:t> realisiert werden</a:t>
            </a:r>
            <a:r>
              <a:rPr lang="de-DE" sz="1600" dirty="0" smtClean="0"/>
              <a:t>.</a:t>
            </a:r>
          </a:p>
          <a:p>
            <a:r>
              <a:rPr lang="de-DE" sz="1600" dirty="0"/>
              <a:t>Die Stelle eines Energie- und Umweltbeauftragten und eine Arbeitsgruppe zur permanenten Beratung bezüglich Energieeffizienz und Stärkung des Umweltbewusstseins</a:t>
            </a:r>
          </a:p>
        </p:txBody>
      </p:sp>
      <p:sp>
        <p:nvSpPr>
          <p:cNvPr id="3" name="Fußzeilenplatzhalter 2"/>
          <p:cNvSpPr>
            <a:spLocks noGrp="1"/>
          </p:cNvSpPr>
          <p:nvPr>
            <p:ph type="ftr" sz="quarter" idx="3"/>
          </p:nvPr>
        </p:nvSpPr>
        <p:spPr/>
        <p:txBody>
          <a:bodyPr/>
          <a:lstStyle/>
          <a:p>
            <a:r>
              <a:rPr lang="en-US" dirty="0" err="1" smtClean="0"/>
              <a:t>Quelle</a:t>
            </a:r>
            <a:r>
              <a:rPr lang="en-US" dirty="0"/>
              <a:t>: </a:t>
            </a:r>
            <a:r>
              <a:rPr lang="en-US" dirty="0">
                <a:hlinkClick r:id="rId2"/>
              </a:rPr>
              <a:t>https://</a:t>
            </a:r>
            <a:r>
              <a:rPr lang="en-US" dirty="0" smtClean="0">
                <a:hlinkClick r:id="rId2"/>
              </a:rPr>
              <a:t>www.elbe-werkstaetten.de/media/nachhaltigkeitsbericht_elbe-werkstaetten_2021_1.pdf</a:t>
            </a:r>
            <a:r>
              <a:rPr lang="en-US" dirty="0" smtClean="0"/>
              <a:t> </a:t>
            </a:r>
            <a:endParaRPr lang="en-US" dirty="0"/>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18</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5.09.2023</a:t>
            </a:fld>
            <a:endParaRPr lang="de-DE" dirty="0"/>
          </a:p>
        </p:txBody>
      </p:sp>
      <p:sp>
        <p:nvSpPr>
          <p:cNvPr id="6" name="Titel 5"/>
          <p:cNvSpPr>
            <a:spLocks noGrp="1"/>
          </p:cNvSpPr>
          <p:nvPr>
            <p:ph type="title"/>
          </p:nvPr>
        </p:nvSpPr>
        <p:spPr/>
        <p:txBody>
          <a:bodyPr/>
          <a:lstStyle/>
          <a:p>
            <a:r>
              <a:rPr lang="de-DE" dirty="0" smtClean="0"/>
              <a:t>Beispiel </a:t>
            </a:r>
            <a:r>
              <a:rPr lang="de-DE" dirty="0"/>
              <a:t>Elbe-Werkstätten GmbH </a:t>
            </a:r>
          </a:p>
        </p:txBody>
      </p:sp>
    </p:spTree>
    <p:extLst>
      <p:ext uri="{BB962C8B-B14F-4D97-AF65-F5344CB8AC3E}">
        <p14:creationId xmlns:p14="http://schemas.microsoft.com/office/powerpoint/2010/main" val="31714331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96B0F94-C480-AB4B-9422-A3C4DF9F2E32}"/>
              </a:ext>
            </a:extLst>
          </p:cNvPr>
          <p:cNvSpPr>
            <a:spLocks noGrp="1"/>
          </p:cNvSpPr>
          <p:nvPr>
            <p:ph idx="13"/>
          </p:nvPr>
        </p:nvSpPr>
        <p:spPr>
          <a:xfrm>
            <a:off x="516827" y="2318178"/>
            <a:ext cx="11501001" cy="2968526"/>
          </a:xfrm>
        </p:spPr>
        <p:txBody>
          <a:bodyPr/>
          <a:lstStyle/>
          <a:p>
            <a:r>
              <a:rPr lang="de-DE" sz="2000" dirty="0"/>
              <a:t>UN-Leitprinzipien für Wirtschaft und </a:t>
            </a:r>
            <a:r>
              <a:rPr lang="de-DE" sz="2000" dirty="0" smtClean="0"/>
              <a:t>Menschenrechte (2011). 3 Säulen:</a:t>
            </a:r>
          </a:p>
          <a:p>
            <a:pPr>
              <a:buFontTx/>
              <a:buChar char="-"/>
            </a:pPr>
            <a:r>
              <a:rPr lang="de-DE" sz="1600" dirty="0" smtClean="0"/>
              <a:t>Staatliche Schutzpflicht</a:t>
            </a:r>
          </a:p>
          <a:p>
            <a:pPr>
              <a:buFontTx/>
              <a:buChar char="-"/>
            </a:pPr>
            <a:r>
              <a:rPr lang="de-DE" sz="1600" dirty="0" smtClean="0"/>
              <a:t>Unternehmerische Verantwortung</a:t>
            </a:r>
          </a:p>
          <a:p>
            <a:pPr>
              <a:buFontTx/>
              <a:buChar char="-"/>
            </a:pPr>
            <a:r>
              <a:rPr lang="de-DE" sz="1600" dirty="0" smtClean="0"/>
              <a:t>Zugang zu Abhilfe</a:t>
            </a:r>
          </a:p>
          <a:p>
            <a:pPr>
              <a:buFontTx/>
              <a:buChar char="-"/>
            </a:pPr>
            <a:r>
              <a:rPr lang="de-DE" sz="1600" dirty="0" smtClean="0"/>
              <a:t>Nationaler Aktionsplan zur Umsetzung </a:t>
            </a:r>
            <a:r>
              <a:rPr lang="de-DE" sz="1600" dirty="0"/>
              <a:t>der UN-Leitprinzipien: </a:t>
            </a:r>
            <a:r>
              <a:rPr lang="de-DE" sz="1600" dirty="0">
                <a:hlinkClick r:id="rId3"/>
              </a:rPr>
              <a:t>https://</a:t>
            </a:r>
            <a:r>
              <a:rPr lang="de-DE" sz="1600" dirty="0" smtClean="0">
                <a:hlinkClick r:id="rId3"/>
              </a:rPr>
              <a:t>www.auswaertiges-amt.de/blob/297434/8d6ab29982767d5a31d2e85464461565/nap-wirtschaft-menschenrechte-data.pdf</a:t>
            </a:r>
            <a:r>
              <a:rPr lang="de-DE" sz="1600" dirty="0" smtClean="0"/>
              <a:t> </a:t>
            </a:r>
          </a:p>
          <a:p>
            <a:r>
              <a:rPr lang="de-DE" sz="2000" dirty="0" smtClean="0"/>
              <a:t>OECD Leitsätze für multinationale Unternehmen: Verhaltenskodex </a:t>
            </a:r>
            <a:r>
              <a:rPr lang="de-DE" sz="2000" dirty="0"/>
              <a:t>mit dem Ziel, global agierenden Unternehmen Orientierung und Unterstützung im Umgang mit Gewerkschaften, im Umweltschutz, bei der Korruptionsbekämpfung und der Wahrung der Verbraucherinteressen zu </a:t>
            </a:r>
            <a:r>
              <a:rPr lang="de-DE" sz="2000" dirty="0" smtClean="0"/>
              <a:t>bieten</a:t>
            </a:r>
          </a:p>
        </p:txBody>
      </p:sp>
      <p:sp>
        <p:nvSpPr>
          <p:cNvPr id="3" name="Fußzeilenplatzhalter 2">
            <a:extLst>
              <a:ext uri="{FF2B5EF4-FFF2-40B4-BE49-F238E27FC236}">
                <a16:creationId xmlns:a16="http://schemas.microsoft.com/office/drawing/2014/main" id="{C9DE9594-BD53-A446-A27C-259E9DF6CEEC}"/>
              </a:ext>
            </a:extLst>
          </p:cNvPr>
          <p:cNvSpPr>
            <a:spLocks noGrp="1"/>
          </p:cNvSpPr>
          <p:nvPr>
            <p:ph type="ftr" sz="quarter" idx="3"/>
          </p:nvPr>
        </p:nvSpPr>
        <p:spPr>
          <a:xfrm>
            <a:off x="3055361" y="6185168"/>
            <a:ext cx="6825486" cy="170036"/>
          </a:xfrm>
        </p:spPr>
        <p:txBody>
          <a:bodyPr/>
          <a:lstStyle/>
          <a:p>
            <a:r>
              <a:rPr lang="en-US" dirty="0" err="1" smtClean="0"/>
              <a:t>Quelle</a:t>
            </a:r>
            <a:r>
              <a:rPr lang="en-US" dirty="0"/>
              <a:t>: https://www.csr-in-deutschland.de/DE/CSR-Allgemein/CSR-Grundlagen/Internationale-Rahmenwerke/international-rahmenwerke-art.html</a:t>
            </a:r>
          </a:p>
        </p:txBody>
      </p:sp>
      <p:sp>
        <p:nvSpPr>
          <p:cNvPr id="4" name="Foliennummernplatzhalter 3">
            <a:extLst>
              <a:ext uri="{FF2B5EF4-FFF2-40B4-BE49-F238E27FC236}">
                <a16:creationId xmlns:a16="http://schemas.microsoft.com/office/drawing/2014/main" id="{9B178CB1-D913-C545-8644-FE65F0F20AEA}"/>
              </a:ext>
            </a:extLst>
          </p:cNvPr>
          <p:cNvSpPr>
            <a:spLocks noGrp="1"/>
          </p:cNvSpPr>
          <p:nvPr>
            <p:ph type="sldNum" sz="quarter" idx="4"/>
          </p:nvPr>
        </p:nvSpPr>
        <p:spPr/>
        <p:txBody>
          <a:bodyPr/>
          <a:lstStyle/>
          <a:p>
            <a:r>
              <a:rPr lang="en-US"/>
              <a:t>Seite </a:t>
            </a:r>
            <a:fld id="{6D22F896-40B5-4ADD-8801-0D06FADFA095}" type="slidenum">
              <a:rPr lang="en-US" smtClean="0"/>
              <a:pPr/>
              <a:t>19</a:t>
            </a:fld>
            <a:endParaRPr lang="en-US"/>
          </a:p>
        </p:txBody>
      </p:sp>
      <p:sp>
        <p:nvSpPr>
          <p:cNvPr id="5" name="Datumsplatzhalter 4">
            <a:extLst>
              <a:ext uri="{FF2B5EF4-FFF2-40B4-BE49-F238E27FC236}">
                <a16:creationId xmlns:a16="http://schemas.microsoft.com/office/drawing/2014/main" id="{4B324780-DA7A-0244-BB23-2D50BB5118C4}"/>
              </a:ext>
            </a:extLst>
          </p:cNvPr>
          <p:cNvSpPr>
            <a:spLocks noGrp="1"/>
          </p:cNvSpPr>
          <p:nvPr>
            <p:ph type="dt" sz="half" idx="2"/>
          </p:nvPr>
        </p:nvSpPr>
        <p:spPr/>
        <p:txBody>
          <a:bodyPr/>
          <a:lstStyle/>
          <a:p>
            <a:fld id="{D45DEB48-55E7-5347-8659-3F16911D02D3}" type="datetime1">
              <a:rPr lang="de-DE"/>
              <a:pPr/>
              <a:t>20.09.2023</a:t>
            </a:fld>
            <a:endParaRPr lang="de-DE" dirty="0"/>
          </a:p>
        </p:txBody>
      </p:sp>
      <p:sp>
        <p:nvSpPr>
          <p:cNvPr id="6" name="Titel 5">
            <a:extLst>
              <a:ext uri="{FF2B5EF4-FFF2-40B4-BE49-F238E27FC236}">
                <a16:creationId xmlns:a16="http://schemas.microsoft.com/office/drawing/2014/main" id="{5CDFC2FF-EDB8-F74C-9631-956FA1AE9667}"/>
              </a:ext>
            </a:extLst>
          </p:cNvPr>
          <p:cNvSpPr>
            <a:spLocks noGrp="1"/>
          </p:cNvSpPr>
          <p:nvPr>
            <p:ph type="title"/>
          </p:nvPr>
        </p:nvSpPr>
        <p:spPr/>
        <p:txBody>
          <a:bodyPr/>
          <a:lstStyle/>
          <a:p>
            <a:r>
              <a:rPr lang="de-DE" dirty="0" smtClean="0"/>
              <a:t>Internationale Rahmenwerke</a:t>
            </a:r>
            <a:endParaRPr lang="de-DE" dirty="0"/>
          </a:p>
        </p:txBody>
      </p:sp>
      <p:sp>
        <p:nvSpPr>
          <p:cNvPr id="7" name="Textplatzhalter 6">
            <a:extLst>
              <a:ext uri="{FF2B5EF4-FFF2-40B4-BE49-F238E27FC236}">
                <a16:creationId xmlns:a16="http://schemas.microsoft.com/office/drawing/2014/main" id="{3625EF37-7D8B-7D47-A055-3EE0CB40C832}"/>
              </a:ext>
            </a:extLst>
          </p:cNvPr>
          <p:cNvSpPr>
            <a:spLocks noGrp="1"/>
          </p:cNvSpPr>
          <p:nvPr>
            <p:ph type="body" sz="quarter" idx="11"/>
          </p:nvPr>
        </p:nvSpPr>
        <p:spPr/>
        <p:txBody>
          <a:bodyPr/>
          <a:lstStyle/>
          <a:p>
            <a:endParaRPr lang="de-DE" dirty="0"/>
          </a:p>
        </p:txBody>
      </p:sp>
      <p:pic>
        <p:nvPicPr>
          <p:cNvPr id="8" name="Grafik 7"/>
          <p:cNvPicPr>
            <a:picLocks noChangeAspect="1"/>
          </p:cNvPicPr>
          <p:nvPr/>
        </p:nvPicPr>
        <p:blipFill>
          <a:blip r:embed="rId4"/>
          <a:stretch>
            <a:fillRect/>
          </a:stretch>
        </p:blipFill>
        <p:spPr>
          <a:xfrm>
            <a:off x="8932986" y="720575"/>
            <a:ext cx="2300004" cy="295481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48737299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497653"/>
            <a:ext cx="12192000" cy="1176564"/>
          </a:xfrm>
          <a:prstGeom prst="rect">
            <a:avLst/>
          </a:prstGeom>
        </p:spPr>
      </p:pic>
      <p:sp>
        <p:nvSpPr>
          <p:cNvPr id="3" name="Fußzeilenplatzhalter 2">
            <a:extLst>
              <a:ext uri="{FF2B5EF4-FFF2-40B4-BE49-F238E27FC236}">
                <a16:creationId xmlns:a16="http://schemas.microsoft.com/office/drawing/2014/main" id="{C9DE9594-BD53-A446-A27C-259E9DF6CEEC}"/>
              </a:ext>
            </a:extLst>
          </p:cNvPr>
          <p:cNvSpPr>
            <a:spLocks noGrp="1"/>
          </p:cNvSpPr>
          <p:nvPr>
            <p:ph type="ftr" sz="quarter" idx="3"/>
          </p:nvPr>
        </p:nvSpPr>
        <p:spPr>
          <a:xfrm>
            <a:off x="1639516" y="6578669"/>
            <a:ext cx="6453264" cy="170036"/>
          </a:xfrm>
        </p:spPr>
        <p:txBody>
          <a:bodyPr/>
          <a:lstStyle/>
          <a:p>
            <a:r>
              <a:rPr lang="en-US" dirty="0" err="1" smtClean="0"/>
              <a:t>Quelle</a:t>
            </a:r>
            <a:r>
              <a:rPr lang="en-US" dirty="0"/>
              <a:t>: </a:t>
            </a:r>
            <a:r>
              <a:rPr lang="en-US" dirty="0">
                <a:hlinkClick r:id="rId4"/>
              </a:rPr>
              <a:t>https://www.overshootday.org/newsroom/country-overshoot-days</a:t>
            </a:r>
            <a:r>
              <a:rPr lang="en-US" dirty="0" smtClean="0">
                <a:hlinkClick r:id="rId4"/>
              </a:rPr>
              <a:t>/</a:t>
            </a:r>
            <a:r>
              <a:rPr lang="en-US" dirty="0" smtClean="0"/>
              <a:t> </a:t>
            </a:r>
            <a:endParaRPr lang="en-US" dirty="0"/>
          </a:p>
        </p:txBody>
      </p:sp>
      <p:sp>
        <p:nvSpPr>
          <p:cNvPr id="4" name="Foliennummernplatzhalter 3">
            <a:extLst>
              <a:ext uri="{FF2B5EF4-FFF2-40B4-BE49-F238E27FC236}">
                <a16:creationId xmlns:a16="http://schemas.microsoft.com/office/drawing/2014/main" id="{9B178CB1-D913-C545-8644-FE65F0F20AEA}"/>
              </a:ext>
            </a:extLst>
          </p:cNvPr>
          <p:cNvSpPr>
            <a:spLocks noGrp="1"/>
          </p:cNvSpPr>
          <p:nvPr>
            <p:ph type="sldNum" sz="quarter" idx="4"/>
          </p:nvPr>
        </p:nvSpPr>
        <p:spPr/>
        <p:txBody>
          <a:bodyPr/>
          <a:lstStyle/>
          <a:p>
            <a:r>
              <a:rPr lang="en-US"/>
              <a:t>Seite </a:t>
            </a:r>
            <a:fld id="{6D22F896-40B5-4ADD-8801-0D06FADFA095}" type="slidenum">
              <a:rPr lang="en-US" smtClean="0"/>
              <a:pPr/>
              <a:t>2</a:t>
            </a:fld>
            <a:endParaRPr lang="en-US"/>
          </a:p>
        </p:txBody>
      </p:sp>
      <p:pic>
        <p:nvPicPr>
          <p:cNvPr id="9" name="Inhaltsplatzhalter 8"/>
          <p:cNvPicPr>
            <a:picLocks noGrp="1" noChangeAspect="1"/>
          </p:cNvPicPr>
          <p:nvPr>
            <p:ph idx="13"/>
          </p:nvPr>
        </p:nvPicPr>
        <p:blipFill>
          <a:blip r:embed="rId5">
            <a:extLst>
              <a:ext uri="{28A0092B-C50C-407E-A947-70E740481C1C}">
                <a14:useLocalDpi xmlns:a14="http://schemas.microsoft.com/office/drawing/2010/main" val="0"/>
              </a:ext>
            </a:extLst>
          </a:blip>
          <a:stretch>
            <a:fillRect/>
          </a:stretch>
        </p:blipFill>
        <p:spPr>
          <a:xfrm>
            <a:off x="280854" y="1174193"/>
            <a:ext cx="6407932" cy="5177609"/>
          </a:xfrm>
        </p:spPr>
      </p:pic>
      <p:sp>
        <p:nvSpPr>
          <p:cNvPr id="14" name="Inhaltsplatzhalter 3"/>
          <p:cNvSpPr txBox="1">
            <a:spLocks/>
          </p:cNvSpPr>
          <p:nvPr/>
        </p:nvSpPr>
        <p:spPr>
          <a:xfrm>
            <a:off x="7263793" y="2206712"/>
            <a:ext cx="4353199" cy="2968526"/>
          </a:xfrm>
          <a:prstGeom prst="rect">
            <a:avLst/>
          </a:prstGeom>
        </p:spPr>
        <p:txBody>
          <a:bodyPr/>
          <a:lstStyle>
            <a:lvl1pPr marL="228600" indent="-228600" algn="l" defTabSz="914400" rtl="0" eaLnBrk="1" latinLnBrk="0" hangingPunct="1">
              <a:lnSpc>
                <a:spcPct val="100000"/>
              </a:lnSpc>
              <a:spcBef>
                <a:spcPts val="1000"/>
              </a:spcBef>
              <a:buClr>
                <a:schemeClr val="accent1"/>
              </a:buClr>
              <a:buFont typeface="Wingdings" pitchFamily="2" charset="2"/>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Wingdings" pitchFamily="2" charset="2"/>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Wingdings" pitchFamily="2" charset="2"/>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de-DE" sz="1600" dirty="0"/>
              <a:t>Der World </a:t>
            </a:r>
            <a:r>
              <a:rPr lang="de-DE" sz="1600" dirty="0" err="1"/>
              <a:t>Overshoot</a:t>
            </a:r>
            <a:r>
              <a:rPr lang="de-DE" sz="1600" dirty="0"/>
              <a:t> Day beschreibt den Tag, an dem alle natürliche Ressourcen aufgebraucht sind, die die Erde innerhalb eines Jahres wiederherstellen kann.</a:t>
            </a:r>
          </a:p>
          <a:p>
            <a:pPr marL="285750" indent="-285750">
              <a:buFont typeface="Arial" panose="020B0604020202020204" pitchFamily="34" charset="0"/>
              <a:buChar char="•"/>
            </a:pPr>
            <a:r>
              <a:rPr lang="de-DE" sz="1600" dirty="0"/>
              <a:t>2023 liegt der WOD auf dem 2. August</a:t>
            </a:r>
          </a:p>
          <a:p>
            <a:pPr marL="285750" indent="-285750">
              <a:buFont typeface="Arial" panose="020B0604020202020204" pitchFamily="34" charset="0"/>
              <a:buChar char="•"/>
            </a:pPr>
            <a:r>
              <a:rPr lang="de-DE" sz="1600" dirty="0"/>
              <a:t>Deutsche </a:t>
            </a:r>
            <a:r>
              <a:rPr lang="de-DE" sz="1600" dirty="0" err="1"/>
              <a:t>Overshoot</a:t>
            </a:r>
            <a:r>
              <a:rPr lang="de-DE" sz="1600" dirty="0"/>
              <a:t> Day 2023: 4. Mai, d.h. wenn alle Länder der Welt so viel verbrauchen würde, wie DE, bräuchten wir 3 Erden um die Ressourcen zu regenerieren.</a:t>
            </a:r>
          </a:p>
          <a:p>
            <a:endParaRPr lang="de-DE" dirty="0" smtClean="0"/>
          </a:p>
          <a:p>
            <a:endParaRPr lang="de-DE" dirty="0"/>
          </a:p>
        </p:txBody>
      </p:sp>
    </p:spTree>
    <p:extLst>
      <p:ext uri="{BB962C8B-B14F-4D97-AF65-F5344CB8AC3E}">
        <p14:creationId xmlns:p14="http://schemas.microsoft.com/office/powerpoint/2010/main" val="40828445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96B0F94-C480-AB4B-9422-A3C4DF9F2E32}"/>
              </a:ext>
            </a:extLst>
          </p:cNvPr>
          <p:cNvSpPr>
            <a:spLocks noGrp="1"/>
          </p:cNvSpPr>
          <p:nvPr>
            <p:ph idx="13"/>
          </p:nvPr>
        </p:nvSpPr>
        <p:spPr>
          <a:xfrm>
            <a:off x="516827" y="2318178"/>
            <a:ext cx="11501001" cy="2968526"/>
          </a:xfrm>
        </p:spPr>
        <p:txBody>
          <a:bodyPr/>
          <a:lstStyle/>
          <a:p>
            <a:r>
              <a:rPr lang="de-DE" sz="2000" dirty="0" smtClean="0"/>
              <a:t>gegründet 1919; Ziel, weltweit geltenden soziale Mindeststandard etablieren. Grundprinzipien:</a:t>
            </a:r>
          </a:p>
          <a:p>
            <a:pPr>
              <a:buFontTx/>
              <a:buChar char="-"/>
            </a:pPr>
            <a:r>
              <a:rPr lang="de-DE" sz="2000" dirty="0" smtClean="0"/>
              <a:t>Vereinigungsfreiheit und das Recht auf Kollektivverhandlungen</a:t>
            </a:r>
          </a:p>
          <a:p>
            <a:pPr>
              <a:buFontTx/>
              <a:buChar char="-"/>
            </a:pPr>
            <a:r>
              <a:rPr lang="de-DE" sz="2000" dirty="0" smtClean="0"/>
              <a:t>Beseitigung der Zwangsarbeit</a:t>
            </a:r>
          </a:p>
          <a:p>
            <a:pPr>
              <a:buFontTx/>
              <a:buChar char="-"/>
            </a:pPr>
            <a:r>
              <a:rPr lang="de-DE" sz="2000" dirty="0" smtClean="0"/>
              <a:t>Abschaffung der Kinderarbeit</a:t>
            </a:r>
          </a:p>
          <a:p>
            <a:pPr>
              <a:buFontTx/>
              <a:buChar char="-"/>
            </a:pPr>
            <a:r>
              <a:rPr lang="de-DE" sz="2000" dirty="0" smtClean="0"/>
              <a:t>Verbot der Diskriminierung in Beschäftigung und Beruf </a:t>
            </a:r>
          </a:p>
          <a:p>
            <a:pPr>
              <a:buFontTx/>
              <a:buChar char="-"/>
            </a:pPr>
            <a:r>
              <a:rPr lang="de-DE" sz="2000" dirty="0" smtClean="0"/>
              <a:t>Gesundheit- und Arbeitsschutz </a:t>
            </a:r>
            <a:endParaRPr lang="de-DE" sz="2000" dirty="0"/>
          </a:p>
          <a:p>
            <a:r>
              <a:rPr lang="de-DE" sz="2000" dirty="0" smtClean="0"/>
              <a:t>Über 138 ILO </a:t>
            </a:r>
            <a:r>
              <a:rPr lang="de-DE" sz="2000" dirty="0"/>
              <a:t>M</a:t>
            </a:r>
            <a:r>
              <a:rPr lang="de-DE" sz="2000" dirty="0" smtClean="0"/>
              <a:t>itgliedstaaten darunter auch DE</a:t>
            </a:r>
            <a:endParaRPr lang="de-DE" sz="2000" dirty="0"/>
          </a:p>
        </p:txBody>
      </p:sp>
      <p:sp>
        <p:nvSpPr>
          <p:cNvPr id="3" name="Fußzeilenplatzhalter 2">
            <a:extLst>
              <a:ext uri="{FF2B5EF4-FFF2-40B4-BE49-F238E27FC236}">
                <a16:creationId xmlns:a16="http://schemas.microsoft.com/office/drawing/2014/main" id="{C9DE9594-BD53-A446-A27C-259E9DF6CEEC}"/>
              </a:ext>
            </a:extLst>
          </p:cNvPr>
          <p:cNvSpPr>
            <a:spLocks noGrp="1"/>
          </p:cNvSpPr>
          <p:nvPr>
            <p:ph type="ftr" sz="quarter" idx="3"/>
          </p:nvPr>
        </p:nvSpPr>
        <p:spPr>
          <a:xfrm>
            <a:off x="3055361" y="6185168"/>
            <a:ext cx="6825486" cy="170036"/>
          </a:xfrm>
        </p:spPr>
        <p:txBody>
          <a:bodyPr/>
          <a:lstStyle/>
          <a:p>
            <a:r>
              <a:rPr lang="en-US" dirty="0" err="1" smtClean="0"/>
              <a:t>Quelle</a:t>
            </a:r>
            <a:r>
              <a:rPr lang="en-US" dirty="0"/>
              <a:t>: https://www.csr-in-deutschland.de/DE/CSR-Allgemein/CSR-Grundlagen/Internationale-Rahmenwerke/international-rahmenwerke-art.html</a:t>
            </a:r>
          </a:p>
        </p:txBody>
      </p:sp>
      <p:sp>
        <p:nvSpPr>
          <p:cNvPr id="4" name="Foliennummernplatzhalter 3">
            <a:extLst>
              <a:ext uri="{FF2B5EF4-FFF2-40B4-BE49-F238E27FC236}">
                <a16:creationId xmlns:a16="http://schemas.microsoft.com/office/drawing/2014/main" id="{9B178CB1-D913-C545-8644-FE65F0F20AEA}"/>
              </a:ext>
            </a:extLst>
          </p:cNvPr>
          <p:cNvSpPr>
            <a:spLocks noGrp="1"/>
          </p:cNvSpPr>
          <p:nvPr>
            <p:ph type="sldNum" sz="quarter" idx="4"/>
          </p:nvPr>
        </p:nvSpPr>
        <p:spPr/>
        <p:txBody>
          <a:bodyPr/>
          <a:lstStyle/>
          <a:p>
            <a:r>
              <a:rPr lang="en-US"/>
              <a:t>Seite </a:t>
            </a:r>
            <a:fld id="{6D22F896-40B5-4ADD-8801-0D06FADFA095}" type="slidenum">
              <a:rPr lang="en-US" smtClean="0"/>
              <a:pPr/>
              <a:t>20</a:t>
            </a:fld>
            <a:endParaRPr lang="en-US"/>
          </a:p>
        </p:txBody>
      </p:sp>
      <p:sp>
        <p:nvSpPr>
          <p:cNvPr id="5" name="Datumsplatzhalter 4">
            <a:extLst>
              <a:ext uri="{FF2B5EF4-FFF2-40B4-BE49-F238E27FC236}">
                <a16:creationId xmlns:a16="http://schemas.microsoft.com/office/drawing/2014/main" id="{4B324780-DA7A-0244-BB23-2D50BB5118C4}"/>
              </a:ext>
            </a:extLst>
          </p:cNvPr>
          <p:cNvSpPr>
            <a:spLocks noGrp="1"/>
          </p:cNvSpPr>
          <p:nvPr>
            <p:ph type="dt" sz="half" idx="2"/>
          </p:nvPr>
        </p:nvSpPr>
        <p:spPr/>
        <p:txBody>
          <a:bodyPr/>
          <a:lstStyle/>
          <a:p>
            <a:fld id="{D45DEB48-55E7-5347-8659-3F16911D02D3}" type="datetime1">
              <a:rPr lang="de-DE"/>
              <a:pPr/>
              <a:t>20.09.2023</a:t>
            </a:fld>
            <a:endParaRPr lang="de-DE" dirty="0"/>
          </a:p>
        </p:txBody>
      </p:sp>
      <p:sp>
        <p:nvSpPr>
          <p:cNvPr id="6" name="Titel 5">
            <a:extLst>
              <a:ext uri="{FF2B5EF4-FFF2-40B4-BE49-F238E27FC236}">
                <a16:creationId xmlns:a16="http://schemas.microsoft.com/office/drawing/2014/main" id="{5CDFC2FF-EDB8-F74C-9631-956FA1AE9667}"/>
              </a:ext>
            </a:extLst>
          </p:cNvPr>
          <p:cNvSpPr>
            <a:spLocks noGrp="1"/>
          </p:cNvSpPr>
          <p:nvPr>
            <p:ph type="title"/>
          </p:nvPr>
        </p:nvSpPr>
        <p:spPr/>
        <p:txBody>
          <a:bodyPr/>
          <a:lstStyle/>
          <a:p>
            <a:r>
              <a:rPr lang="de-DE" dirty="0" smtClean="0"/>
              <a:t>Internationale Rahmenwerke</a:t>
            </a:r>
            <a:endParaRPr lang="de-DE" dirty="0"/>
          </a:p>
        </p:txBody>
      </p:sp>
      <p:sp>
        <p:nvSpPr>
          <p:cNvPr id="7" name="Textplatzhalter 6">
            <a:extLst>
              <a:ext uri="{FF2B5EF4-FFF2-40B4-BE49-F238E27FC236}">
                <a16:creationId xmlns:a16="http://schemas.microsoft.com/office/drawing/2014/main" id="{3625EF37-7D8B-7D47-A055-3EE0CB40C832}"/>
              </a:ext>
            </a:extLst>
          </p:cNvPr>
          <p:cNvSpPr>
            <a:spLocks noGrp="1"/>
          </p:cNvSpPr>
          <p:nvPr>
            <p:ph type="body" sz="quarter" idx="11"/>
          </p:nvPr>
        </p:nvSpPr>
        <p:spPr/>
        <p:txBody>
          <a:bodyPr/>
          <a:lstStyle/>
          <a:p>
            <a:r>
              <a:rPr lang="de-DE" dirty="0" smtClean="0"/>
              <a:t>International Labour </a:t>
            </a:r>
            <a:r>
              <a:rPr lang="de-DE" dirty="0" err="1" smtClean="0"/>
              <a:t>Organization</a:t>
            </a:r>
            <a:r>
              <a:rPr lang="de-DE" dirty="0" smtClean="0"/>
              <a:t> (ILO)</a:t>
            </a:r>
            <a:endParaRPr lang="de-DE" dirty="0"/>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8953" y="3336299"/>
            <a:ext cx="3926217" cy="2200912"/>
          </a:xfrm>
          <a:prstGeom prst="rect">
            <a:avLst/>
          </a:prstGeom>
        </p:spPr>
      </p:pic>
    </p:spTree>
    <p:extLst>
      <p:ext uri="{BB962C8B-B14F-4D97-AF65-F5344CB8AC3E}">
        <p14:creationId xmlns:p14="http://schemas.microsoft.com/office/powerpoint/2010/main" val="37485030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96B0F94-C480-AB4B-9422-A3C4DF9F2E32}"/>
              </a:ext>
            </a:extLst>
          </p:cNvPr>
          <p:cNvSpPr>
            <a:spLocks noGrp="1"/>
          </p:cNvSpPr>
          <p:nvPr>
            <p:ph idx="13"/>
          </p:nvPr>
        </p:nvSpPr>
        <p:spPr>
          <a:xfrm>
            <a:off x="516828" y="2318178"/>
            <a:ext cx="8076188" cy="3238560"/>
          </a:xfrm>
        </p:spPr>
        <p:txBody>
          <a:bodyPr/>
          <a:lstStyle/>
          <a:p>
            <a:r>
              <a:rPr lang="de-DE" sz="1800" dirty="0"/>
              <a:t>I</a:t>
            </a:r>
            <a:r>
              <a:rPr lang="de-DE" sz="1800" dirty="0" smtClean="0"/>
              <a:t>nternationaler </a:t>
            </a:r>
            <a:r>
              <a:rPr lang="de-DE" sz="1800" dirty="0"/>
              <a:t>Zusammenschluss von Unternehmen, die sich in ihrer Geschäftstätigkeit zu zehn weltweit gültigen Prinzipien in den Bereichen Menschenrechte, Arbeit, Umwelt und Korruptionsbekämpfung verpflichtet </a:t>
            </a:r>
            <a:r>
              <a:rPr lang="de-DE" sz="1800" dirty="0" smtClean="0"/>
              <a:t>haben</a:t>
            </a:r>
          </a:p>
          <a:p>
            <a:r>
              <a:rPr lang="de-DE" sz="1800" dirty="0" smtClean="0"/>
              <a:t> </a:t>
            </a:r>
            <a:r>
              <a:rPr lang="de-DE" sz="1800" dirty="0"/>
              <a:t>über 17.500 Unternehmen und Organisationen </a:t>
            </a:r>
            <a:r>
              <a:rPr lang="de-DE" sz="1800" dirty="0" smtClean="0"/>
              <a:t>in </a:t>
            </a:r>
            <a:r>
              <a:rPr lang="de-DE" sz="1800" dirty="0"/>
              <a:t>mehr als 170 Ländern sind der Initiative beigetreten, um die Vision einer verantwortungsvollen Unternehmensführung zu </a:t>
            </a:r>
            <a:r>
              <a:rPr lang="de-DE" sz="1800" dirty="0" smtClean="0"/>
              <a:t>verwirklichen</a:t>
            </a:r>
          </a:p>
          <a:p>
            <a:r>
              <a:rPr lang="de-DE" sz="1800" dirty="0" smtClean="0"/>
              <a:t>Austausch in</a:t>
            </a:r>
            <a:r>
              <a:rPr lang="de-DE" sz="1800" dirty="0"/>
              <a:t> </a:t>
            </a:r>
            <a:r>
              <a:rPr lang="de-DE" sz="1800" dirty="0">
                <a:hlinkClick r:id="rId3" tooltip="zur Website www.globalcompact.de."/>
              </a:rPr>
              <a:t>nationalen </a:t>
            </a:r>
            <a:r>
              <a:rPr lang="de-DE" sz="1800" dirty="0" smtClean="0">
                <a:hlinkClick r:id="rId3" tooltip="zur Website www.globalcompact.de."/>
              </a:rPr>
              <a:t>Netzwerken</a:t>
            </a:r>
            <a:r>
              <a:rPr lang="de-DE" sz="1800" dirty="0" smtClean="0"/>
              <a:t> und Entwicklung konkreter </a:t>
            </a:r>
            <a:r>
              <a:rPr lang="de-DE" sz="1800" dirty="0"/>
              <a:t>Lösungsansätze in Form von Konzepten, Leitfäden und Instrumente für </a:t>
            </a:r>
            <a:r>
              <a:rPr lang="de-DE" sz="1800" dirty="0" smtClean="0"/>
              <a:t>einen Beitrag </a:t>
            </a:r>
            <a:r>
              <a:rPr lang="de-DE" sz="1800" dirty="0"/>
              <a:t>der Wirtschaft zur nachhaltigen Entwicklung</a:t>
            </a:r>
            <a:r>
              <a:rPr lang="de-DE" sz="2400" dirty="0"/>
              <a:t>.</a:t>
            </a:r>
            <a:endParaRPr lang="de-DE" sz="1600" dirty="0" smtClean="0"/>
          </a:p>
        </p:txBody>
      </p:sp>
      <p:sp>
        <p:nvSpPr>
          <p:cNvPr id="3" name="Fußzeilenplatzhalter 2">
            <a:extLst>
              <a:ext uri="{FF2B5EF4-FFF2-40B4-BE49-F238E27FC236}">
                <a16:creationId xmlns:a16="http://schemas.microsoft.com/office/drawing/2014/main" id="{C9DE9594-BD53-A446-A27C-259E9DF6CEEC}"/>
              </a:ext>
            </a:extLst>
          </p:cNvPr>
          <p:cNvSpPr>
            <a:spLocks noGrp="1"/>
          </p:cNvSpPr>
          <p:nvPr>
            <p:ph type="ftr" sz="quarter" idx="3"/>
          </p:nvPr>
        </p:nvSpPr>
        <p:spPr>
          <a:xfrm>
            <a:off x="3055361" y="6185168"/>
            <a:ext cx="6825486" cy="170036"/>
          </a:xfrm>
        </p:spPr>
        <p:txBody>
          <a:bodyPr/>
          <a:lstStyle/>
          <a:p>
            <a:r>
              <a:rPr lang="en-US" dirty="0" err="1" smtClean="0"/>
              <a:t>Quelle</a:t>
            </a:r>
            <a:r>
              <a:rPr lang="en-US" dirty="0"/>
              <a:t>: https://www.csr-in-deutschland.de/DE/CSR-Allgemein/CSR-Grundlagen/Internationale-Rahmenwerke/international-rahmenwerke-art.html</a:t>
            </a:r>
          </a:p>
        </p:txBody>
      </p:sp>
      <p:sp>
        <p:nvSpPr>
          <p:cNvPr id="4" name="Foliennummernplatzhalter 3">
            <a:extLst>
              <a:ext uri="{FF2B5EF4-FFF2-40B4-BE49-F238E27FC236}">
                <a16:creationId xmlns:a16="http://schemas.microsoft.com/office/drawing/2014/main" id="{9B178CB1-D913-C545-8644-FE65F0F20AEA}"/>
              </a:ext>
            </a:extLst>
          </p:cNvPr>
          <p:cNvSpPr>
            <a:spLocks noGrp="1"/>
          </p:cNvSpPr>
          <p:nvPr>
            <p:ph type="sldNum" sz="quarter" idx="4"/>
          </p:nvPr>
        </p:nvSpPr>
        <p:spPr/>
        <p:txBody>
          <a:bodyPr/>
          <a:lstStyle/>
          <a:p>
            <a:r>
              <a:rPr lang="en-US"/>
              <a:t>Seite </a:t>
            </a:r>
            <a:fld id="{6D22F896-40B5-4ADD-8801-0D06FADFA095}" type="slidenum">
              <a:rPr lang="en-US" smtClean="0"/>
              <a:pPr/>
              <a:t>21</a:t>
            </a:fld>
            <a:endParaRPr lang="en-US"/>
          </a:p>
        </p:txBody>
      </p:sp>
      <p:sp>
        <p:nvSpPr>
          <p:cNvPr id="5" name="Datumsplatzhalter 4">
            <a:extLst>
              <a:ext uri="{FF2B5EF4-FFF2-40B4-BE49-F238E27FC236}">
                <a16:creationId xmlns:a16="http://schemas.microsoft.com/office/drawing/2014/main" id="{4B324780-DA7A-0244-BB23-2D50BB5118C4}"/>
              </a:ext>
            </a:extLst>
          </p:cNvPr>
          <p:cNvSpPr>
            <a:spLocks noGrp="1"/>
          </p:cNvSpPr>
          <p:nvPr>
            <p:ph type="dt" sz="half" idx="2"/>
          </p:nvPr>
        </p:nvSpPr>
        <p:spPr/>
        <p:txBody>
          <a:bodyPr/>
          <a:lstStyle/>
          <a:p>
            <a:fld id="{D45DEB48-55E7-5347-8659-3F16911D02D3}" type="datetime1">
              <a:rPr lang="de-DE"/>
              <a:pPr/>
              <a:t>20.09.2023</a:t>
            </a:fld>
            <a:endParaRPr lang="de-DE" dirty="0"/>
          </a:p>
        </p:txBody>
      </p:sp>
      <p:sp>
        <p:nvSpPr>
          <p:cNvPr id="6" name="Titel 5">
            <a:extLst>
              <a:ext uri="{FF2B5EF4-FFF2-40B4-BE49-F238E27FC236}">
                <a16:creationId xmlns:a16="http://schemas.microsoft.com/office/drawing/2014/main" id="{5CDFC2FF-EDB8-F74C-9631-956FA1AE9667}"/>
              </a:ext>
            </a:extLst>
          </p:cNvPr>
          <p:cNvSpPr>
            <a:spLocks noGrp="1"/>
          </p:cNvSpPr>
          <p:nvPr>
            <p:ph type="title"/>
          </p:nvPr>
        </p:nvSpPr>
        <p:spPr/>
        <p:txBody>
          <a:bodyPr/>
          <a:lstStyle/>
          <a:p>
            <a:r>
              <a:rPr lang="de-DE" dirty="0" smtClean="0"/>
              <a:t>Internationale Rahmenwerke</a:t>
            </a:r>
            <a:endParaRPr lang="de-DE" dirty="0"/>
          </a:p>
        </p:txBody>
      </p:sp>
      <p:sp>
        <p:nvSpPr>
          <p:cNvPr id="7" name="Textplatzhalter 6">
            <a:extLst>
              <a:ext uri="{FF2B5EF4-FFF2-40B4-BE49-F238E27FC236}">
                <a16:creationId xmlns:a16="http://schemas.microsoft.com/office/drawing/2014/main" id="{3625EF37-7D8B-7D47-A055-3EE0CB40C832}"/>
              </a:ext>
            </a:extLst>
          </p:cNvPr>
          <p:cNvSpPr>
            <a:spLocks noGrp="1"/>
          </p:cNvSpPr>
          <p:nvPr>
            <p:ph type="body" sz="quarter" idx="11"/>
          </p:nvPr>
        </p:nvSpPr>
        <p:spPr/>
        <p:txBody>
          <a:bodyPr/>
          <a:lstStyle/>
          <a:p>
            <a:r>
              <a:rPr lang="de-DE" dirty="0"/>
              <a:t>UN Global Compact (</a:t>
            </a:r>
            <a:r>
              <a:rPr lang="de-DE" dirty="0">
                <a:hlinkClick r:id="rId4"/>
              </a:rPr>
              <a:t>https://www.globalcompact.de</a:t>
            </a:r>
            <a:r>
              <a:rPr lang="de-DE" dirty="0" smtClean="0">
                <a:hlinkClick r:id="rId4"/>
              </a:rPr>
              <a:t>/</a:t>
            </a:r>
            <a:r>
              <a:rPr lang="de-DE" dirty="0" smtClean="0"/>
              <a:t> )</a:t>
            </a:r>
            <a:endParaRPr lang="de-DE" dirty="0"/>
          </a:p>
          <a:p>
            <a:endParaRPr lang="de-DE" dirty="0"/>
          </a:p>
        </p:txBody>
      </p:sp>
      <p:pic>
        <p:nvPicPr>
          <p:cNvPr id="8" name="Grafik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37502" y="1965098"/>
            <a:ext cx="3386642" cy="33866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88332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3"/>
          </p:nvPr>
        </p:nvSpPr>
        <p:spPr/>
        <p:txBody>
          <a:bodyPr/>
          <a:lstStyle/>
          <a:p>
            <a:r>
              <a:rPr lang="de-DE" sz="1400" dirty="0" smtClean="0"/>
              <a:t>Zwei </a:t>
            </a:r>
            <a:r>
              <a:rPr lang="de-DE" sz="1400" dirty="0"/>
              <a:t>Kernfragen dienen dazu, die wirklich bedeutenden nachhaltigkeitsrelevanten Themen in Ihrem Unternehmen zu erfassen: „Was erwarten Ihre Anspruchsgruppen?“ und „Welches sind aus Ihrer Unternehmenssicht die strategisch wichtigen Nachhaltigkeitsthemen?“. Der Ablauf einer Wesentlichkeitsanalyse bzw. Materialitätsanalyse kann dabei wie folgt aussehen:</a:t>
            </a:r>
          </a:p>
          <a:p>
            <a:r>
              <a:rPr lang="de-DE" sz="1400" dirty="0"/>
              <a:t>Ermittlung und Bewertung interner und externer Themen</a:t>
            </a:r>
          </a:p>
          <a:p>
            <a:r>
              <a:rPr lang="de-DE" sz="1400" dirty="0"/>
              <a:t>Erstellen einer Bewertungslogik</a:t>
            </a:r>
          </a:p>
          <a:p>
            <a:r>
              <a:rPr lang="de-DE" sz="1400" dirty="0"/>
              <a:t>Festlegung der (</a:t>
            </a:r>
            <a:r>
              <a:rPr lang="de-DE" sz="1400" dirty="0" err="1"/>
              <a:t>Nachhaltigkeits</a:t>
            </a:r>
            <a:r>
              <a:rPr lang="de-DE" sz="1400" dirty="0"/>
              <a:t>)Themen, die in die Wesentlichkeitsanalyse einfließen sollen</a:t>
            </a:r>
          </a:p>
          <a:p>
            <a:r>
              <a:rPr lang="de-DE" sz="1400" dirty="0"/>
              <a:t>Austausch dieser Themen mit den interessierten Parteien (Anspruchsgruppen)</a:t>
            </a:r>
          </a:p>
          <a:p>
            <a:r>
              <a:rPr lang="de-DE" sz="1400" dirty="0"/>
              <a:t>Erstellung einer Wesentlichkeitsmatrix</a:t>
            </a:r>
          </a:p>
          <a:p>
            <a:r>
              <a:rPr lang="de-DE" sz="1400" dirty="0"/>
              <a:t>Verwendung beziehungsweise Veröffentlichung im Rahmen der Nachhaltigkeitsstrategie, zum Beispiel im Nachhaltigkeitsbericht (GRI) oder dem Code </a:t>
            </a:r>
            <a:r>
              <a:rPr lang="de-DE" sz="1400" dirty="0" err="1"/>
              <a:t>of</a:t>
            </a:r>
            <a:r>
              <a:rPr lang="de-DE" sz="1400" dirty="0"/>
              <a:t> </a:t>
            </a:r>
            <a:r>
              <a:rPr lang="de-DE" sz="1400" dirty="0" err="1"/>
              <a:t>Conduct</a:t>
            </a:r>
            <a:endParaRPr lang="de-DE" sz="1400" dirty="0"/>
          </a:p>
        </p:txBody>
      </p:sp>
      <p:sp>
        <p:nvSpPr>
          <p:cNvPr id="3" name="Fußzeilenplatzhalter 2"/>
          <p:cNvSpPr>
            <a:spLocks noGrp="1"/>
          </p:cNvSpPr>
          <p:nvPr>
            <p:ph type="ftr" sz="quarter" idx="3"/>
          </p:nvPr>
        </p:nvSpPr>
        <p:spPr/>
        <p:txBody>
          <a:bodyPr/>
          <a:lstStyle/>
          <a:p>
            <a:r>
              <a:rPr lang="en-US" smtClean="0"/>
              <a:t>Projekt XXX</a:t>
            </a:r>
            <a:endParaRPr lang="en-US"/>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22</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0.09.2023</a:t>
            </a:fld>
            <a:endParaRPr lang="de-DE" dirty="0"/>
          </a:p>
        </p:txBody>
      </p:sp>
      <p:sp>
        <p:nvSpPr>
          <p:cNvPr id="6" name="Titel 5"/>
          <p:cNvSpPr>
            <a:spLocks noGrp="1"/>
          </p:cNvSpPr>
          <p:nvPr>
            <p:ph type="title"/>
          </p:nvPr>
        </p:nvSpPr>
        <p:spPr/>
        <p:txBody>
          <a:bodyPr/>
          <a:lstStyle/>
          <a:p>
            <a:r>
              <a:rPr lang="de-DE" dirty="0" smtClean="0"/>
              <a:t>Wesentlichkeitsanalyse</a:t>
            </a:r>
            <a:endParaRPr lang="de-DE" dirty="0"/>
          </a:p>
        </p:txBody>
      </p:sp>
      <p:sp>
        <p:nvSpPr>
          <p:cNvPr id="7" name="Textplatzhalter 6"/>
          <p:cNvSpPr>
            <a:spLocks noGrp="1"/>
          </p:cNvSpPr>
          <p:nvPr>
            <p:ph type="body" sz="quarter" idx="11"/>
          </p:nvPr>
        </p:nvSpPr>
        <p:spPr/>
        <p:txBody>
          <a:bodyPr/>
          <a:lstStyle/>
          <a:p>
            <a:endParaRPr lang="de-DE" dirty="0"/>
          </a:p>
        </p:txBody>
      </p:sp>
    </p:spTree>
    <p:extLst>
      <p:ext uri="{BB962C8B-B14F-4D97-AF65-F5344CB8AC3E}">
        <p14:creationId xmlns:p14="http://schemas.microsoft.com/office/powerpoint/2010/main" val="261001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3"/>
          </p:nvPr>
        </p:nvSpPr>
        <p:spPr/>
        <p:txBody>
          <a:bodyPr/>
          <a:lstStyle/>
          <a:p>
            <a:pPr marL="0" indent="0">
              <a:buNone/>
            </a:pPr>
            <a:r>
              <a:rPr lang="de-DE" dirty="0"/>
              <a:t>Bei der Entscheidung, ob eine Anspruchsgruppe Ihr Unternehmen wesentlich ist, spielt es vor allem eine Rolle, ob</a:t>
            </a:r>
          </a:p>
          <a:p>
            <a:r>
              <a:rPr lang="de-DE" dirty="0"/>
              <a:t>sie Einfluss auf Ihr Unternehmen beziehungsweise auf die Erreichung Ihrer Unternehmensziele haben könnte,</a:t>
            </a:r>
          </a:p>
          <a:p>
            <a:r>
              <a:rPr lang="de-DE" dirty="0"/>
              <a:t>sie durch die Aktivität Ihres Unternehmens beeinflusst werden könnte oder</a:t>
            </a:r>
          </a:p>
          <a:p>
            <a:r>
              <a:rPr lang="de-DE" dirty="0"/>
              <a:t>sogar beides zutrifft.</a:t>
            </a:r>
          </a:p>
        </p:txBody>
      </p:sp>
      <p:sp>
        <p:nvSpPr>
          <p:cNvPr id="3" name="Fußzeilenplatzhalter 2"/>
          <p:cNvSpPr>
            <a:spLocks noGrp="1"/>
          </p:cNvSpPr>
          <p:nvPr>
            <p:ph type="ftr" sz="quarter" idx="3"/>
          </p:nvPr>
        </p:nvSpPr>
        <p:spPr/>
        <p:txBody>
          <a:bodyPr/>
          <a:lstStyle/>
          <a:p>
            <a:r>
              <a:rPr lang="en-US" smtClean="0"/>
              <a:t>Projekt XXX</a:t>
            </a:r>
            <a:endParaRPr lang="en-US"/>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23</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0.09.2023</a:t>
            </a:fld>
            <a:endParaRPr lang="de-DE" dirty="0"/>
          </a:p>
        </p:txBody>
      </p:sp>
      <p:sp>
        <p:nvSpPr>
          <p:cNvPr id="6" name="Titel 5"/>
          <p:cNvSpPr>
            <a:spLocks noGrp="1"/>
          </p:cNvSpPr>
          <p:nvPr>
            <p:ph type="title"/>
          </p:nvPr>
        </p:nvSpPr>
        <p:spPr/>
        <p:txBody>
          <a:bodyPr/>
          <a:lstStyle/>
          <a:p>
            <a:r>
              <a:rPr lang="de-DE" dirty="0" smtClean="0"/>
              <a:t>Wesentlichkeitsanalyse</a:t>
            </a:r>
            <a:endParaRPr lang="de-DE" dirty="0"/>
          </a:p>
        </p:txBody>
      </p:sp>
      <p:sp>
        <p:nvSpPr>
          <p:cNvPr id="7" name="Textplatzhalter 6"/>
          <p:cNvSpPr>
            <a:spLocks noGrp="1"/>
          </p:cNvSpPr>
          <p:nvPr>
            <p:ph type="body" sz="quarter" idx="11"/>
          </p:nvPr>
        </p:nvSpPr>
        <p:spPr/>
        <p:txBody>
          <a:bodyPr/>
          <a:lstStyle/>
          <a:p>
            <a:endParaRPr lang="de-DE" dirty="0"/>
          </a:p>
        </p:txBody>
      </p:sp>
    </p:spTree>
    <p:extLst>
      <p:ext uri="{BB962C8B-B14F-4D97-AF65-F5344CB8AC3E}">
        <p14:creationId xmlns:p14="http://schemas.microsoft.com/office/powerpoint/2010/main" val="26746508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ußzeilenplatzhalter 2"/>
          <p:cNvSpPr>
            <a:spLocks noGrp="1"/>
          </p:cNvSpPr>
          <p:nvPr>
            <p:ph type="ftr" sz="quarter" idx="3"/>
          </p:nvPr>
        </p:nvSpPr>
        <p:spPr/>
        <p:txBody>
          <a:bodyPr/>
          <a:lstStyle/>
          <a:p>
            <a:r>
              <a:rPr lang="en-US" smtClean="0"/>
              <a:t>Projekt XXX</a:t>
            </a:r>
            <a:endParaRPr lang="en-US"/>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24</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0.09.2023</a:t>
            </a:fld>
            <a:endParaRPr lang="de-DE" dirty="0"/>
          </a:p>
        </p:txBody>
      </p:sp>
      <p:sp>
        <p:nvSpPr>
          <p:cNvPr id="6" name="Titel 5"/>
          <p:cNvSpPr>
            <a:spLocks noGrp="1"/>
          </p:cNvSpPr>
          <p:nvPr>
            <p:ph type="title"/>
          </p:nvPr>
        </p:nvSpPr>
        <p:spPr/>
        <p:txBody>
          <a:bodyPr/>
          <a:lstStyle/>
          <a:p>
            <a:r>
              <a:rPr lang="de-DE" dirty="0" smtClean="0"/>
              <a:t>Wesentlichkeitsanalyse</a:t>
            </a:r>
            <a:endParaRPr lang="de-DE" dirty="0"/>
          </a:p>
        </p:txBody>
      </p:sp>
      <p:sp>
        <p:nvSpPr>
          <p:cNvPr id="7" name="Textplatzhalter 6"/>
          <p:cNvSpPr>
            <a:spLocks noGrp="1"/>
          </p:cNvSpPr>
          <p:nvPr>
            <p:ph type="body" sz="quarter" idx="11"/>
          </p:nvPr>
        </p:nvSpPr>
        <p:spPr/>
        <p:txBody>
          <a:bodyPr/>
          <a:lstStyle/>
          <a:p>
            <a:endParaRPr lang="de-DE" dirty="0"/>
          </a:p>
        </p:txBody>
      </p:sp>
      <p:sp>
        <p:nvSpPr>
          <p:cNvPr id="9" name="Inhaltsplatzhalter 8"/>
          <p:cNvSpPr>
            <a:spLocks noGrp="1"/>
          </p:cNvSpPr>
          <p:nvPr>
            <p:ph idx="13"/>
          </p:nvPr>
        </p:nvSpPr>
        <p:spPr>
          <a:xfrm>
            <a:off x="516828" y="2228433"/>
            <a:ext cx="11158344" cy="2968526"/>
          </a:xfrm>
        </p:spPr>
        <p:txBody>
          <a:bodyPr/>
          <a:lstStyle/>
          <a:p>
            <a:r>
              <a:rPr lang="de-DE" b="1" dirty="0"/>
              <a:t>Externe Themen</a:t>
            </a:r>
            <a:r>
              <a:rPr lang="de-DE" dirty="0"/>
              <a:t> können, angelehnt an die drei Säulen der Nachhaltigkeit, Folgendem zugeordnet werden:</a:t>
            </a:r>
          </a:p>
          <a:p>
            <a:r>
              <a:rPr lang="de-DE" dirty="0"/>
              <a:t>dem ökonomischen Umfeld: Lieferkette, Korruption, Rohstoffe, Politik, Recht etc.</a:t>
            </a:r>
          </a:p>
          <a:p>
            <a:r>
              <a:rPr lang="de-DE" dirty="0"/>
              <a:t>dem gesellschaftlichen Umfeld: Werte, Bevölkerung, Arbeit, Diskriminierung etc.</a:t>
            </a:r>
          </a:p>
          <a:p>
            <a:r>
              <a:rPr lang="de-DE" dirty="0"/>
              <a:t>dem ökologischen Umfeld: Klima, Rohstoffe, Recycling etc.</a:t>
            </a:r>
          </a:p>
          <a:p>
            <a:pPr marL="0" indent="0">
              <a:buNone/>
            </a:pPr>
            <a:endParaRPr lang="de-DE" dirty="0"/>
          </a:p>
          <a:p>
            <a:r>
              <a:rPr lang="de-DE" b="1" dirty="0"/>
              <a:t>Interne Themen</a:t>
            </a:r>
            <a:r>
              <a:rPr lang="de-DE" dirty="0"/>
              <a:t> betreffen vor allem die Bereiche Produktion, Marketing, Personal, Ressourcen und das Geschäftsmodell.</a:t>
            </a:r>
          </a:p>
        </p:txBody>
      </p:sp>
    </p:spTree>
    <p:extLst>
      <p:ext uri="{BB962C8B-B14F-4D97-AF65-F5344CB8AC3E}">
        <p14:creationId xmlns:p14="http://schemas.microsoft.com/office/powerpoint/2010/main" val="3512979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ctrTitle"/>
          </p:nvPr>
        </p:nvSpPr>
        <p:spPr/>
        <p:txBody>
          <a:bodyPr/>
          <a:lstStyle/>
          <a:p>
            <a:r>
              <a:rPr lang="de-DE" dirty="0" smtClean="0"/>
              <a:t>Vielen Dank</a:t>
            </a:r>
            <a:endParaRPr lang="de-DE" dirty="0"/>
          </a:p>
        </p:txBody>
      </p:sp>
      <p:sp>
        <p:nvSpPr>
          <p:cNvPr id="9" name="Untertitel 8"/>
          <p:cNvSpPr>
            <a:spLocks noGrp="1"/>
          </p:cNvSpPr>
          <p:nvPr>
            <p:ph type="subTitle" idx="1"/>
          </p:nvPr>
        </p:nvSpPr>
        <p:spPr/>
        <p:txBody>
          <a:bodyPr/>
          <a:lstStyle/>
          <a:p>
            <a:r>
              <a:rPr lang="de-DE" dirty="0"/>
              <a:t>f</a:t>
            </a:r>
            <a:r>
              <a:rPr lang="de-DE" dirty="0" smtClean="0"/>
              <a:t>ür Ihre Aufmerksamkeit!</a:t>
            </a:r>
            <a:endParaRPr lang="de-DE" dirty="0"/>
          </a:p>
        </p:txBody>
      </p:sp>
    </p:spTree>
    <p:extLst>
      <p:ext uri="{BB962C8B-B14F-4D97-AF65-F5344CB8AC3E}">
        <p14:creationId xmlns:p14="http://schemas.microsoft.com/office/powerpoint/2010/main" val="37220591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96B0F94-C480-AB4B-9422-A3C4DF9F2E32}"/>
              </a:ext>
            </a:extLst>
          </p:cNvPr>
          <p:cNvSpPr>
            <a:spLocks noGrp="1"/>
          </p:cNvSpPr>
          <p:nvPr>
            <p:ph idx="13"/>
          </p:nvPr>
        </p:nvSpPr>
        <p:spPr>
          <a:xfrm>
            <a:off x="774736" y="2967397"/>
            <a:ext cx="10729006" cy="1368630"/>
          </a:xfrm>
          <a:solidFill>
            <a:schemeClr val="accent4">
              <a:lumMod val="60000"/>
              <a:lumOff val="40000"/>
            </a:schemeClr>
          </a:solidFill>
          <a:ln>
            <a:noFill/>
          </a:ln>
          <a:effectLst>
            <a:outerShdw blurRad="50800" dist="38100" dir="2700000" algn="tl" rotWithShape="0">
              <a:prstClr val="black">
                <a:alpha val="40000"/>
              </a:prstClr>
            </a:outerShdw>
            <a:softEdge rad="0"/>
          </a:effectLst>
        </p:spPr>
        <p:style>
          <a:lnRef idx="0">
            <a:scrgbClr r="0" g="0" b="0"/>
          </a:lnRef>
          <a:fillRef idx="0">
            <a:scrgbClr r="0" g="0" b="0"/>
          </a:fillRef>
          <a:effectRef idx="0">
            <a:scrgbClr r="0" g="0" b="0"/>
          </a:effectRef>
          <a:fontRef idx="minor">
            <a:schemeClr val="lt1"/>
          </a:fontRef>
        </p:style>
        <p:txBody>
          <a:bodyPr/>
          <a:lstStyle/>
          <a:p>
            <a:pPr marL="0" indent="0" algn="ctr">
              <a:buNone/>
            </a:pPr>
            <a:r>
              <a:rPr lang="de-DE" sz="2000" dirty="0"/>
              <a:t>Unter "Corporate </a:t>
            </a:r>
            <a:r>
              <a:rPr lang="de-DE" sz="2000" dirty="0" err="1"/>
              <a:t>Social</a:t>
            </a:r>
            <a:r>
              <a:rPr lang="de-DE" sz="2000" dirty="0"/>
              <a:t> </a:t>
            </a:r>
            <a:r>
              <a:rPr lang="de-DE" sz="2000" dirty="0" err="1"/>
              <a:t>Responsibility</a:t>
            </a:r>
            <a:r>
              <a:rPr lang="de-DE" sz="2000" dirty="0"/>
              <a:t>" oder kurz CSR ist die gesellschaftliche Verantwortung von Unternehmen im Sinne eines nachhaltigen Wirtschaftens zu verstehen. CSR ist die Verantwortung von Unternehmen für ihre Auswirkungen auf die Gesellschaft. </a:t>
            </a:r>
            <a:endParaRPr lang="de-DE" sz="2000" dirty="0" smtClean="0"/>
          </a:p>
          <a:p>
            <a:pPr algn="ctr"/>
            <a:endParaRPr lang="de-DE" sz="2000" dirty="0"/>
          </a:p>
          <a:p>
            <a:pPr marL="0" indent="0" algn="ctr">
              <a:buNone/>
            </a:pPr>
            <a:endParaRPr lang="de-DE" sz="1400" dirty="0"/>
          </a:p>
        </p:txBody>
      </p:sp>
      <p:sp>
        <p:nvSpPr>
          <p:cNvPr id="3" name="Fußzeilenplatzhalter 2">
            <a:extLst>
              <a:ext uri="{FF2B5EF4-FFF2-40B4-BE49-F238E27FC236}">
                <a16:creationId xmlns:a16="http://schemas.microsoft.com/office/drawing/2014/main" id="{C9DE9594-BD53-A446-A27C-259E9DF6CEEC}"/>
              </a:ext>
            </a:extLst>
          </p:cNvPr>
          <p:cNvSpPr>
            <a:spLocks noGrp="1"/>
          </p:cNvSpPr>
          <p:nvPr>
            <p:ph type="ftr" sz="quarter" idx="3"/>
          </p:nvPr>
        </p:nvSpPr>
        <p:spPr/>
        <p:txBody>
          <a:bodyPr/>
          <a:lstStyle/>
          <a:p>
            <a:r>
              <a:rPr lang="en-US" dirty="0" err="1" smtClean="0"/>
              <a:t>Quelle</a:t>
            </a:r>
            <a:r>
              <a:rPr lang="en-US" dirty="0"/>
              <a:t>: https://www.csr-in-deutschland.de/DE/CSR-Allgemein/CSR-Grundlagen/csr-grundlagen.html</a:t>
            </a:r>
          </a:p>
        </p:txBody>
      </p:sp>
      <p:sp>
        <p:nvSpPr>
          <p:cNvPr id="4" name="Foliennummernplatzhalter 3">
            <a:extLst>
              <a:ext uri="{FF2B5EF4-FFF2-40B4-BE49-F238E27FC236}">
                <a16:creationId xmlns:a16="http://schemas.microsoft.com/office/drawing/2014/main" id="{9B178CB1-D913-C545-8644-FE65F0F20AEA}"/>
              </a:ext>
            </a:extLst>
          </p:cNvPr>
          <p:cNvSpPr>
            <a:spLocks noGrp="1"/>
          </p:cNvSpPr>
          <p:nvPr>
            <p:ph type="sldNum" sz="quarter" idx="4"/>
          </p:nvPr>
        </p:nvSpPr>
        <p:spPr/>
        <p:txBody>
          <a:bodyPr/>
          <a:lstStyle/>
          <a:p>
            <a:r>
              <a:rPr lang="en-US"/>
              <a:t>Seite </a:t>
            </a:r>
            <a:fld id="{6D22F896-40B5-4ADD-8801-0D06FADFA095}" type="slidenum">
              <a:rPr lang="en-US" smtClean="0"/>
              <a:pPr/>
              <a:t>3</a:t>
            </a:fld>
            <a:endParaRPr lang="en-US"/>
          </a:p>
        </p:txBody>
      </p:sp>
      <p:sp>
        <p:nvSpPr>
          <p:cNvPr id="5" name="Datumsplatzhalter 4">
            <a:extLst>
              <a:ext uri="{FF2B5EF4-FFF2-40B4-BE49-F238E27FC236}">
                <a16:creationId xmlns:a16="http://schemas.microsoft.com/office/drawing/2014/main" id="{4B324780-DA7A-0244-BB23-2D50BB5118C4}"/>
              </a:ext>
            </a:extLst>
          </p:cNvPr>
          <p:cNvSpPr>
            <a:spLocks noGrp="1"/>
          </p:cNvSpPr>
          <p:nvPr>
            <p:ph type="dt" sz="half" idx="2"/>
          </p:nvPr>
        </p:nvSpPr>
        <p:spPr/>
        <p:txBody>
          <a:bodyPr/>
          <a:lstStyle/>
          <a:p>
            <a:fld id="{D45DEB48-55E7-5347-8659-3F16911D02D3}" type="datetime1">
              <a:rPr lang="de-DE"/>
              <a:pPr/>
              <a:t>20.09.2023</a:t>
            </a:fld>
            <a:endParaRPr lang="de-DE" dirty="0"/>
          </a:p>
        </p:txBody>
      </p:sp>
      <p:sp>
        <p:nvSpPr>
          <p:cNvPr id="6" name="Titel 5">
            <a:extLst>
              <a:ext uri="{FF2B5EF4-FFF2-40B4-BE49-F238E27FC236}">
                <a16:creationId xmlns:a16="http://schemas.microsoft.com/office/drawing/2014/main" id="{5CDFC2FF-EDB8-F74C-9631-956FA1AE9667}"/>
              </a:ext>
            </a:extLst>
          </p:cNvPr>
          <p:cNvSpPr>
            <a:spLocks noGrp="1"/>
          </p:cNvSpPr>
          <p:nvPr>
            <p:ph type="title"/>
          </p:nvPr>
        </p:nvSpPr>
        <p:spPr/>
        <p:txBody>
          <a:bodyPr/>
          <a:lstStyle/>
          <a:p>
            <a:r>
              <a:rPr lang="de-DE" dirty="0"/>
              <a:t>Was ist CSR</a:t>
            </a:r>
          </a:p>
        </p:txBody>
      </p:sp>
      <p:sp>
        <p:nvSpPr>
          <p:cNvPr id="7" name="Textplatzhalter 6">
            <a:extLst>
              <a:ext uri="{FF2B5EF4-FFF2-40B4-BE49-F238E27FC236}">
                <a16:creationId xmlns:a16="http://schemas.microsoft.com/office/drawing/2014/main" id="{3625EF37-7D8B-7D47-A055-3EE0CB40C832}"/>
              </a:ext>
            </a:extLst>
          </p:cNvPr>
          <p:cNvSpPr>
            <a:spLocks noGrp="1"/>
          </p:cNvSpPr>
          <p:nvPr>
            <p:ph type="body" sz="quarter" idx="11"/>
          </p:nvPr>
        </p:nvSpPr>
        <p:spPr>
          <a:xfrm>
            <a:off x="516829" y="1732216"/>
            <a:ext cx="8100122" cy="465764"/>
          </a:xfrm>
        </p:spPr>
        <p:txBody>
          <a:bodyPr/>
          <a:lstStyle/>
          <a:p>
            <a:r>
              <a:rPr lang="de-DE" dirty="0"/>
              <a:t>Corporate </a:t>
            </a:r>
            <a:r>
              <a:rPr lang="de-DE" dirty="0" err="1"/>
              <a:t>Social</a:t>
            </a:r>
            <a:r>
              <a:rPr lang="de-DE" dirty="0"/>
              <a:t> </a:t>
            </a:r>
            <a:r>
              <a:rPr lang="de-DE" dirty="0" err="1"/>
              <a:t>Responsibility</a:t>
            </a:r>
            <a:r>
              <a:rPr lang="de-DE" dirty="0"/>
              <a:t> = Gesellschaftliche Verantwortung von Unternehmen</a:t>
            </a:r>
          </a:p>
          <a:p>
            <a:endParaRPr lang="de-DE" dirty="0"/>
          </a:p>
        </p:txBody>
      </p:sp>
    </p:spTree>
    <p:extLst>
      <p:ext uri="{BB962C8B-B14F-4D97-AF65-F5344CB8AC3E}">
        <p14:creationId xmlns:p14="http://schemas.microsoft.com/office/powerpoint/2010/main" val="3542726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9DE9594-BD53-A446-A27C-259E9DF6CEEC}"/>
              </a:ext>
            </a:extLst>
          </p:cNvPr>
          <p:cNvSpPr>
            <a:spLocks noGrp="1"/>
          </p:cNvSpPr>
          <p:nvPr>
            <p:ph type="ftr" sz="quarter" idx="3"/>
          </p:nvPr>
        </p:nvSpPr>
        <p:spPr/>
        <p:txBody>
          <a:bodyPr/>
          <a:lstStyle/>
          <a:p>
            <a:r>
              <a:rPr lang="en-US" dirty="0" err="1" smtClean="0"/>
              <a:t>Quelle</a:t>
            </a:r>
            <a:r>
              <a:rPr lang="en-US" dirty="0"/>
              <a:t>: https://www.csr-in-deutschland.de/DE/CSR-Allgemein/CSR-Grundlagen/Nachhaltigkeit-und-CSR/nachhaltigkeit-und-csr.html</a:t>
            </a:r>
          </a:p>
        </p:txBody>
      </p:sp>
      <p:sp>
        <p:nvSpPr>
          <p:cNvPr id="4" name="Foliennummernplatzhalter 3">
            <a:extLst>
              <a:ext uri="{FF2B5EF4-FFF2-40B4-BE49-F238E27FC236}">
                <a16:creationId xmlns:a16="http://schemas.microsoft.com/office/drawing/2014/main" id="{9B178CB1-D913-C545-8644-FE65F0F20AEA}"/>
              </a:ext>
            </a:extLst>
          </p:cNvPr>
          <p:cNvSpPr>
            <a:spLocks noGrp="1"/>
          </p:cNvSpPr>
          <p:nvPr>
            <p:ph type="sldNum" sz="quarter" idx="4"/>
          </p:nvPr>
        </p:nvSpPr>
        <p:spPr/>
        <p:txBody>
          <a:bodyPr/>
          <a:lstStyle/>
          <a:p>
            <a:r>
              <a:rPr lang="en-US"/>
              <a:t>Seite </a:t>
            </a:r>
            <a:fld id="{6D22F896-40B5-4ADD-8801-0D06FADFA095}" type="slidenum">
              <a:rPr lang="en-US" smtClean="0"/>
              <a:pPr/>
              <a:t>4</a:t>
            </a:fld>
            <a:endParaRPr lang="en-US"/>
          </a:p>
        </p:txBody>
      </p:sp>
      <p:sp>
        <p:nvSpPr>
          <p:cNvPr id="5" name="Datumsplatzhalter 4">
            <a:extLst>
              <a:ext uri="{FF2B5EF4-FFF2-40B4-BE49-F238E27FC236}">
                <a16:creationId xmlns:a16="http://schemas.microsoft.com/office/drawing/2014/main" id="{4B324780-DA7A-0244-BB23-2D50BB5118C4}"/>
              </a:ext>
            </a:extLst>
          </p:cNvPr>
          <p:cNvSpPr>
            <a:spLocks noGrp="1"/>
          </p:cNvSpPr>
          <p:nvPr>
            <p:ph type="dt" sz="half" idx="2"/>
          </p:nvPr>
        </p:nvSpPr>
        <p:spPr/>
        <p:txBody>
          <a:bodyPr/>
          <a:lstStyle/>
          <a:p>
            <a:fld id="{D45DEB48-55E7-5347-8659-3F16911D02D3}" type="datetime1">
              <a:rPr lang="de-DE"/>
              <a:pPr/>
              <a:t>20.09.2023</a:t>
            </a:fld>
            <a:endParaRPr lang="de-DE" dirty="0"/>
          </a:p>
        </p:txBody>
      </p:sp>
      <p:sp>
        <p:nvSpPr>
          <p:cNvPr id="6" name="Titel 5">
            <a:extLst>
              <a:ext uri="{FF2B5EF4-FFF2-40B4-BE49-F238E27FC236}">
                <a16:creationId xmlns:a16="http://schemas.microsoft.com/office/drawing/2014/main" id="{5CDFC2FF-EDB8-F74C-9631-956FA1AE9667}"/>
              </a:ext>
            </a:extLst>
          </p:cNvPr>
          <p:cNvSpPr>
            <a:spLocks noGrp="1"/>
          </p:cNvSpPr>
          <p:nvPr>
            <p:ph type="title"/>
          </p:nvPr>
        </p:nvSpPr>
        <p:spPr/>
        <p:txBody>
          <a:bodyPr/>
          <a:lstStyle/>
          <a:p>
            <a:r>
              <a:rPr lang="de-DE" dirty="0"/>
              <a:t>Was ist CSR</a:t>
            </a:r>
          </a:p>
        </p:txBody>
      </p:sp>
      <p:sp>
        <p:nvSpPr>
          <p:cNvPr id="7" name="Textplatzhalter 6">
            <a:extLst>
              <a:ext uri="{FF2B5EF4-FFF2-40B4-BE49-F238E27FC236}">
                <a16:creationId xmlns:a16="http://schemas.microsoft.com/office/drawing/2014/main" id="{3625EF37-7D8B-7D47-A055-3EE0CB40C832}"/>
              </a:ext>
            </a:extLst>
          </p:cNvPr>
          <p:cNvSpPr>
            <a:spLocks noGrp="1"/>
          </p:cNvSpPr>
          <p:nvPr>
            <p:ph type="body" sz="quarter" idx="11"/>
          </p:nvPr>
        </p:nvSpPr>
        <p:spPr/>
        <p:txBody>
          <a:bodyPr/>
          <a:lstStyle/>
          <a:p>
            <a:r>
              <a:rPr lang="de-DE" dirty="0"/>
              <a:t>Corporate </a:t>
            </a:r>
            <a:r>
              <a:rPr lang="de-DE" dirty="0" err="1"/>
              <a:t>Social</a:t>
            </a:r>
            <a:r>
              <a:rPr lang="de-DE" dirty="0"/>
              <a:t> </a:t>
            </a:r>
            <a:r>
              <a:rPr lang="de-DE" dirty="0" err="1"/>
              <a:t>Responsibility</a:t>
            </a:r>
            <a:r>
              <a:rPr lang="de-DE" dirty="0"/>
              <a:t> = Gesellschaftliche Verantwortung von Unternehmen</a:t>
            </a:r>
          </a:p>
          <a:p>
            <a:endParaRPr lang="de-DE" dirty="0"/>
          </a:p>
        </p:txBody>
      </p:sp>
      <p:graphicFrame>
        <p:nvGraphicFramePr>
          <p:cNvPr id="9" name="Diagramm 8"/>
          <p:cNvGraphicFramePr/>
          <p:nvPr>
            <p:extLst>
              <p:ext uri="{D42A27DB-BD31-4B8C-83A1-F6EECF244321}">
                <p14:modId xmlns:p14="http://schemas.microsoft.com/office/powerpoint/2010/main" val="4129293768"/>
              </p:ext>
            </p:extLst>
          </p:nvPr>
        </p:nvGraphicFramePr>
        <p:xfrm>
          <a:off x="611749" y="1262392"/>
          <a:ext cx="10744509" cy="55956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639682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half" idx="1"/>
          </p:nvPr>
        </p:nvSpPr>
        <p:spPr>
          <a:xfrm>
            <a:off x="516827" y="2229806"/>
            <a:ext cx="3800196" cy="3441231"/>
          </a:xfrm>
        </p:spPr>
        <p:txBody>
          <a:bodyPr/>
          <a:lstStyle/>
          <a:p>
            <a:r>
              <a:rPr lang="de-DE" sz="1600" dirty="0" smtClean="0"/>
              <a:t>Verabschiedet von den Vereinten Nationen im September 2015</a:t>
            </a:r>
          </a:p>
          <a:p>
            <a:r>
              <a:rPr lang="de-DE" sz="1600" dirty="0" smtClean="0"/>
              <a:t>17 Ziele für nachhaltige Entwicklung bis 2030 (Agenda 2030)</a:t>
            </a:r>
          </a:p>
          <a:p>
            <a:r>
              <a:rPr lang="de-DE" sz="1600" dirty="0"/>
              <a:t>Deutsche Nachhaltigkeitsstrategie (</a:t>
            </a:r>
            <a:r>
              <a:rPr lang="de-DE" sz="1600" dirty="0" smtClean="0"/>
              <a:t>DNS</a:t>
            </a:r>
            <a:r>
              <a:rPr lang="de-DE" sz="1600" dirty="0" smtClean="0"/>
              <a:t>)</a:t>
            </a:r>
          </a:p>
          <a:p>
            <a:r>
              <a:rPr lang="de-DE" sz="1600" dirty="0"/>
              <a:t>Deutscher Nachhaltigkeitskodex (</a:t>
            </a:r>
            <a:r>
              <a:rPr lang="de-DE" sz="1600" dirty="0" smtClean="0"/>
              <a:t>DNK) unterstützt </a:t>
            </a:r>
            <a:r>
              <a:rPr lang="de-DE" sz="1600" dirty="0"/>
              <a:t>den Aufbau einer </a:t>
            </a:r>
            <a:r>
              <a:rPr lang="de-DE" sz="1600" dirty="0">
                <a:hlinkClick r:id="rId3"/>
              </a:rPr>
              <a:t>Nachhaltigkeitsstrategie </a:t>
            </a:r>
            <a:r>
              <a:rPr lang="de-DE" sz="1600" dirty="0"/>
              <a:t>und bietet einen Einstieg in die Nachhaltigkeitsberichterstattung.</a:t>
            </a:r>
            <a:endParaRPr lang="de-DE" sz="1600" dirty="0" smtClean="0"/>
          </a:p>
          <a:p>
            <a:endParaRPr lang="de-DE" dirty="0" smtClean="0"/>
          </a:p>
          <a:p>
            <a:endParaRPr lang="de-DE" dirty="0"/>
          </a:p>
        </p:txBody>
      </p:sp>
      <p:sp>
        <p:nvSpPr>
          <p:cNvPr id="3" name="Titel 2"/>
          <p:cNvSpPr>
            <a:spLocks noGrp="1"/>
          </p:cNvSpPr>
          <p:nvPr>
            <p:ph type="title"/>
          </p:nvPr>
        </p:nvSpPr>
        <p:spPr/>
        <p:txBody>
          <a:bodyPr/>
          <a:lstStyle/>
          <a:p>
            <a:r>
              <a:rPr lang="de-DE" dirty="0" err="1" smtClean="0"/>
              <a:t>Sustainable</a:t>
            </a:r>
            <a:r>
              <a:rPr lang="de-DE" dirty="0" smtClean="0"/>
              <a:t> Development Goals (SDGs) als Orientierung</a:t>
            </a:r>
            <a:endParaRPr lang="de-DE" dirty="0"/>
          </a:p>
        </p:txBody>
      </p:sp>
      <p:sp>
        <p:nvSpPr>
          <p:cNvPr id="2" name="Foliennummernplatzhalter 1">
            <a:extLst>
              <a:ext uri="{FF2B5EF4-FFF2-40B4-BE49-F238E27FC236}">
                <a16:creationId xmlns:a16="http://schemas.microsoft.com/office/drawing/2014/main" id="{1C34635D-CE67-4702-A2E2-8DE68E778A88}"/>
              </a:ext>
            </a:extLst>
          </p:cNvPr>
          <p:cNvSpPr>
            <a:spLocks noGrp="1"/>
          </p:cNvSpPr>
          <p:nvPr>
            <p:ph type="sldNum" sz="quarter" idx="4294967295"/>
          </p:nvPr>
        </p:nvSpPr>
        <p:spPr>
          <a:xfrm>
            <a:off x="11479213" y="6188075"/>
            <a:ext cx="712787" cy="163513"/>
          </a:xfrm>
        </p:spPr>
        <p:txBody>
          <a:bodyPr/>
          <a:lstStyle/>
          <a:p>
            <a:fld id="{EB0F84F6-6AB3-4BC3-9BFD-A71B563E72FD}" type="slidenum">
              <a:rPr lang="de-DE" smtClean="0"/>
              <a:pPr/>
              <a:t>5</a:t>
            </a:fld>
            <a:endParaRPr lang="de-DE"/>
          </a:p>
        </p:txBody>
      </p:sp>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8450" y="1883453"/>
            <a:ext cx="7286721" cy="3661233"/>
          </a:xfrm>
          <a:prstGeom prst="rect">
            <a:avLst/>
          </a:prstGeom>
        </p:spPr>
      </p:pic>
    </p:spTree>
    <p:extLst>
      <p:ext uri="{BB962C8B-B14F-4D97-AF65-F5344CB8AC3E}">
        <p14:creationId xmlns:p14="http://schemas.microsoft.com/office/powerpoint/2010/main" val="33622441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497653"/>
            <a:ext cx="12192000" cy="1176564"/>
          </a:xfrm>
          <a:prstGeom prst="rect">
            <a:avLst/>
          </a:prstGeom>
        </p:spPr>
      </p:pic>
      <p:sp>
        <p:nvSpPr>
          <p:cNvPr id="2" name="Titel 1">
            <a:extLst>
              <a:ext uri="{FF2B5EF4-FFF2-40B4-BE49-F238E27FC236}">
                <a16:creationId xmlns:a16="http://schemas.microsoft.com/office/drawing/2014/main" id="{2D0716D6-6EC6-27ED-28FD-80A1ED15B39D}"/>
              </a:ext>
            </a:extLst>
          </p:cNvPr>
          <p:cNvSpPr>
            <a:spLocks noGrp="1"/>
          </p:cNvSpPr>
          <p:nvPr>
            <p:ph type="title"/>
          </p:nvPr>
        </p:nvSpPr>
        <p:spPr/>
        <p:txBody>
          <a:bodyPr/>
          <a:lstStyle/>
          <a:p>
            <a:r>
              <a:rPr lang="de-DE" sz="2800" dirty="0">
                <a:solidFill>
                  <a:schemeClr val="tx1"/>
                </a:solidFill>
              </a:rPr>
              <a:t>Nachhaltigkeitsindikatoren nach </a:t>
            </a:r>
            <a:r>
              <a:rPr lang="de-DE" sz="2800" dirty="0" smtClean="0">
                <a:solidFill>
                  <a:schemeClr val="tx1"/>
                </a:solidFill>
              </a:rPr>
              <a:t>GRI</a:t>
            </a:r>
            <a:endParaRPr lang="de-DE" sz="2800" dirty="0">
              <a:solidFill>
                <a:schemeClr val="tx1"/>
              </a:solidFill>
            </a:endParaRPr>
          </a:p>
        </p:txBody>
      </p:sp>
      <p:sp>
        <p:nvSpPr>
          <p:cNvPr id="4" name="Foliennummernplatzhalter 3">
            <a:extLst>
              <a:ext uri="{FF2B5EF4-FFF2-40B4-BE49-F238E27FC236}">
                <a16:creationId xmlns:a16="http://schemas.microsoft.com/office/drawing/2014/main" id="{2D453CF1-4AD2-317E-75D6-9FA168A011B6}"/>
              </a:ext>
            </a:extLst>
          </p:cNvPr>
          <p:cNvSpPr>
            <a:spLocks noGrp="1"/>
          </p:cNvSpPr>
          <p:nvPr>
            <p:ph type="sldNum" sz="quarter" idx="11"/>
          </p:nvPr>
        </p:nvSpPr>
        <p:spPr/>
        <p:txBody>
          <a:bodyPr/>
          <a:lstStyle/>
          <a:p>
            <a:fld id="{EB0F84F6-6AB3-4BC3-9BFD-A71B563E72FD}" type="slidenum">
              <a:rPr lang="de-DE" smtClean="0"/>
              <a:pPr/>
              <a:t>6</a:t>
            </a:fld>
            <a:endParaRPr lang="de-DE"/>
          </a:p>
        </p:txBody>
      </p:sp>
      <p:graphicFrame>
        <p:nvGraphicFramePr>
          <p:cNvPr id="3" name="Diagramm 2"/>
          <p:cNvGraphicFramePr/>
          <p:nvPr>
            <p:extLst>
              <p:ext uri="{D42A27DB-BD31-4B8C-83A1-F6EECF244321}">
                <p14:modId xmlns:p14="http://schemas.microsoft.com/office/powerpoint/2010/main" val="1972575877"/>
              </p:ext>
            </p:extLst>
          </p:nvPr>
        </p:nvGraphicFramePr>
        <p:xfrm>
          <a:off x="121920" y="1638299"/>
          <a:ext cx="11312996" cy="45502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feld 4"/>
          <p:cNvSpPr txBox="1"/>
          <p:nvPr/>
        </p:nvSpPr>
        <p:spPr>
          <a:xfrm>
            <a:off x="523328" y="6351802"/>
            <a:ext cx="6983845" cy="253916"/>
          </a:xfrm>
          <a:prstGeom prst="rect">
            <a:avLst/>
          </a:prstGeom>
          <a:noFill/>
        </p:spPr>
        <p:txBody>
          <a:bodyPr wrap="square" rtlCol="0">
            <a:spAutoFit/>
          </a:bodyPr>
          <a:lstStyle/>
          <a:p>
            <a:r>
              <a:rPr lang="de-DE" sz="1050" dirty="0" smtClean="0"/>
              <a:t>Quelle: https</a:t>
            </a:r>
            <a:r>
              <a:rPr lang="de-DE" sz="1050" dirty="0"/>
              <a:t>://www.globalreporting.org/how-to-use-the-gri-standards/gri-standards-german-translations/</a:t>
            </a:r>
          </a:p>
        </p:txBody>
      </p:sp>
    </p:spTree>
    <p:extLst>
      <p:ext uri="{BB962C8B-B14F-4D97-AF65-F5344CB8AC3E}">
        <p14:creationId xmlns:p14="http://schemas.microsoft.com/office/powerpoint/2010/main" val="1928117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3"/>
          </p:nvPr>
        </p:nvSpPr>
        <p:spPr/>
        <p:txBody>
          <a:bodyPr/>
          <a:lstStyle/>
          <a:p>
            <a:r>
              <a:rPr lang="de-DE" sz="1600" dirty="0" smtClean="0"/>
              <a:t>Nationale </a:t>
            </a:r>
            <a:r>
              <a:rPr lang="de-DE" sz="1600" dirty="0"/>
              <a:t>CSR-Forum als ein Gremium, in dem verschiedenste gesellschaftliche Akteure sich gemeinsam dem Thema "Unternehmensverantwortung" </a:t>
            </a:r>
            <a:r>
              <a:rPr lang="de-DE" sz="1600" dirty="0" smtClean="0"/>
              <a:t>widmen</a:t>
            </a:r>
          </a:p>
          <a:p>
            <a:r>
              <a:rPr lang="de-DE" sz="1600" dirty="0"/>
              <a:t>Bundesregierung im Jahr 2010 den </a:t>
            </a:r>
            <a:r>
              <a:rPr lang="de-DE" sz="1600" dirty="0">
                <a:hlinkClick r:id="rId3" tooltip="zur Seite der Bundesregierung mit dem Inhalt &quot;Nationale Strategie zur gesellschaftlichen Verantwortung von Unternehmen&quot;"/>
              </a:rPr>
              <a:t>Aktionsplan CSR</a:t>
            </a:r>
            <a:r>
              <a:rPr lang="de-DE" sz="1600" dirty="0"/>
              <a:t> verabschiedet, der in den Folgejahren umgesetzt wurde und CSR in Deutschland weiter verbreitet hat</a:t>
            </a:r>
            <a:r>
              <a:rPr lang="de-DE" sz="1600" dirty="0" smtClean="0"/>
              <a:t>.</a:t>
            </a:r>
          </a:p>
          <a:p>
            <a:r>
              <a:rPr lang="de-DE" sz="1600" dirty="0"/>
              <a:t>Am 21. Dezember 2016 hat die Bundesregierung den Nationalen Aktionsplan Wirtschaft und Menschenrechte im Bundeskabinett </a:t>
            </a:r>
            <a:r>
              <a:rPr lang="de-DE" sz="1600" dirty="0" smtClean="0"/>
              <a:t>verabschiedet. </a:t>
            </a:r>
            <a:r>
              <a:rPr lang="de-DE" sz="1600" dirty="0"/>
              <a:t>Im Aktionsplan verankert sie erstmals die Verantwortung von deutschen Unternehmen für die Achtung der Menschenrechte in einem festen Rahmen</a:t>
            </a:r>
            <a:r>
              <a:rPr lang="de-DE" sz="1600" dirty="0" smtClean="0"/>
              <a:t>.</a:t>
            </a:r>
          </a:p>
          <a:p>
            <a:r>
              <a:rPr lang="de-DE" sz="1600" dirty="0"/>
              <a:t>Das </a:t>
            </a:r>
            <a:r>
              <a:rPr lang="de-DE" sz="1600" dirty="0">
                <a:hlinkClick r:id="rId4" tooltip="Lieferkettengesetz"/>
              </a:rPr>
              <a:t>Gesetz über die unternehmerischen Sorgfaltspflichten in Lieferketten</a:t>
            </a:r>
            <a:r>
              <a:rPr lang="de-DE" sz="1600" dirty="0"/>
              <a:t> (Lieferkettensorgfaltspflichtengesetz, </a:t>
            </a:r>
            <a:r>
              <a:rPr lang="de-DE" sz="1600" dirty="0" err="1"/>
              <a:t>LkSG</a:t>
            </a:r>
            <a:r>
              <a:rPr lang="de-DE" sz="1600" dirty="0"/>
              <a:t>) wurde nach Abschluss des parlamentarischen Verfahrens am 22. Juli 2021 im Bundesgesetzblatt veröffentlicht. Damit wird die Verantwortung deutscher Unternehmen für die Achtung von Menschenrechten in globalen Lieferketten erstmals verbindlich geregelt.</a:t>
            </a:r>
          </a:p>
          <a:p>
            <a:pPr marL="0" indent="0">
              <a:buNone/>
            </a:pPr>
            <a:endParaRPr lang="de-DE" dirty="0" smtClean="0"/>
          </a:p>
          <a:p>
            <a:endParaRPr lang="de-DE" dirty="0" smtClean="0"/>
          </a:p>
          <a:p>
            <a:endParaRPr lang="de-DE" dirty="0"/>
          </a:p>
        </p:txBody>
      </p:sp>
      <p:sp>
        <p:nvSpPr>
          <p:cNvPr id="3" name="Fußzeilenplatzhalter 2"/>
          <p:cNvSpPr>
            <a:spLocks noGrp="1"/>
          </p:cNvSpPr>
          <p:nvPr>
            <p:ph type="ftr" sz="quarter" idx="3"/>
          </p:nvPr>
        </p:nvSpPr>
        <p:spPr/>
        <p:txBody>
          <a:bodyPr/>
          <a:lstStyle/>
          <a:p>
            <a:r>
              <a:rPr lang="en-US" dirty="0" err="1" smtClean="0"/>
              <a:t>Projekt</a:t>
            </a:r>
            <a:r>
              <a:rPr lang="en-US" dirty="0" smtClean="0"/>
              <a:t> XXX</a:t>
            </a:r>
            <a:endParaRPr lang="en-US" dirty="0"/>
          </a:p>
        </p:txBody>
      </p:sp>
      <p:sp>
        <p:nvSpPr>
          <p:cNvPr id="4" name="Foliennummernplatzhalter 3"/>
          <p:cNvSpPr>
            <a:spLocks noGrp="1"/>
          </p:cNvSpPr>
          <p:nvPr>
            <p:ph type="sldNum" sz="quarter" idx="4"/>
          </p:nvPr>
        </p:nvSpPr>
        <p:spPr/>
        <p:txBody>
          <a:bodyPr/>
          <a:lstStyle/>
          <a:p>
            <a:r>
              <a:rPr lang="en-US" smtClean="0"/>
              <a:t>Seite </a:t>
            </a:r>
            <a:fld id="{6D22F896-40B5-4ADD-8801-0D06FADFA095}" type="slidenum">
              <a:rPr lang="en-US" smtClean="0"/>
              <a:pPr/>
              <a:t>7</a:t>
            </a:fld>
            <a:endParaRPr lang="en-US"/>
          </a:p>
        </p:txBody>
      </p:sp>
      <p:sp>
        <p:nvSpPr>
          <p:cNvPr id="5" name="Datumsplatzhalter 4"/>
          <p:cNvSpPr>
            <a:spLocks noGrp="1"/>
          </p:cNvSpPr>
          <p:nvPr>
            <p:ph type="dt" sz="half" idx="2"/>
          </p:nvPr>
        </p:nvSpPr>
        <p:spPr/>
        <p:txBody>
          <a:bodyPr/>
          <a:lstStyle/>
          <a:p>
            <a:fld id="{D45DEB48-55E7-5347-8659-3F16911D02D3}" type="datetime1">
              <a:rPr lang="de-DE" smtClean="0"/>
              <a:pPr/>
              <a:t>20.09.2023</a:t>
            </a:fld>
            <a:endParaRPr lang="de-DE" dirty="0"/>
          </a:p>
        </p:txBody>
      </p:sp>
      <p:sp>
        <p:nvSpPr>
          <p:cNvPr id="6" name="Titel 5"/>
          <p:cNvSpPr>
            <a:spLocks noGrp="1"/>
          </p:cNvSpPr>
          <p:nvPr>
            <p:ph type="title"/>
          </p:nvPr>
        </p:nvSpPr>
        <p:spPr/>
        <p:txBody>
          <a:bodyPr/>
          <a:lstStyle/>
          <a:p>
            <a:r>
              <a:rPr lang="de-DE" dirty="0" smtClean="0"/>
              <a:t>CSR in Deutschland</a:t>
            </a:r>
            <a:endParaRPr lang="de-DE" dirty="0"/>
          </a:p>
        </p:txBody>
      </p:sp>
      <p:sp>
        <p:nvSpPr>
          <p:cNvPr id="7" name="Textplatzhalter 6"/>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13152246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Grafik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677" y="5479742"/>
            <a:ext cx="12192000" cy="1176564"/>
          </a:xfrm>
          <a:prstGeom prst="rect">
            <a:avLst/>
          </a:prstGeom>
        </p:spPr>
      </p:pic>
      <p:sp>
        <p:nvSpPr>
          <p:cNvPr id="9" name="Titel 8"/>
          <p:cNvSpPr>
            <a:spLocks noGrp="1"/>
          </p:cNvSpPr>
          <p:nvPr>
            <p:ph type="title"/>
          </p:nvPr>
        </p:nvSpPr>
        <p:spPr/>
        <p:txBody>
          <a:bodyPr/>
          <a:lstStyle/>
          <a:p>
            <a:r>
              <a:rPr lang="de-DE" dirty="0" smtClean="0"/>
              <a:t>CSR in Deutschland</a:t>
            </a:r>
            <a:endParaRPr lang="de-DE" dirty="0"/>
          </a:p>
        </p:txBody>
      </p:sp>
      <p:cxnSp>
        <p:nvCxnSpPr>
          <p:cNvPr id="13" name="Gerade Verbindung mit Pfeil 12"/>
          <p:cNvCxnSpPr/>
          <p:nvPr/>
        </p:nvCxnSpPr>
        <p:spPr>
          <a:xfrm flipV="1">
            <a:off x="587849" y="4146452"/>
            <a:ext cx="9000000" cy="1614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5" name="Gruppieren 4"/>
          <p:cNvGrpSpPr/>
          <p:nvPr/>
        </p:nvGrpSpPr>
        <p:grpSpPr>
          <a:xfrm>
            <a:off x="482894" y="1910333"/>
            <a:ext cx="576064" cy="2325679"/>
            <a:chOff x="3353574" y="1679378"/>
            <a:chExt cx="576064" cy="2325679"/>
          </a:xfrm>
        </p:grpSpPr>
        <p:sp>
          <p:nvSpPr>
            <p:cNvPr id="3" name="Träne 2"/>
            <p:cNvSpPr/>
            <p:nvPr/>
          </p:nvSpPr>
          <p:spPr>
            <a:xfrm rot="8031320">
              <a:off x="3353574" y="1679378"/>
              <a:ext cx="576064" cy="576064"/>
            </a:xfrm>
            <a:prstGeom prst="teardrop">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p:cNvPicPr>
              <a:picLocks noChangeAspect="1"/>
            </p:cNvPicPr>
            <p:nvPr/>
          </p:nvPicPr>
          <p:blipFill>
            <a:blip r:embed="rId4">
              <a:clrChange>
                <a:clrFrom>
                  <a:srgbClr val="F4F4F6"/>
                </a:clrFrom>
                <a:clrTo>
                  <a:srgbClr val="F4F4F6">
                    <a:alpha val="0"/>
                  </a:srgbClr>
                </a:clrTo>
              </a:clrChange>
            </a:blip>
            <a:stretch>
              <a:fillRect/>
            </a:stretch>
          </p:blipFill>
          <p:spPr>
            <a:xfrm>
              <a:off x="3526896" y="1734193"/>
              <a:ext cx="229419" cy="466434"/>
            </a:xfrm>
            <a:prstGeom prst="rect">
              <a:avLst/>
            </a:prstGeom>
          </p:spPr>
        </p:pic>
        <p:grpSp>
          <p:nvGrpSpPr>
            <p:cNvPr id="21" name="Gruppieren 20"/>
            <p:cNvGrpSpPr/>
            <p:nvPr/>
          </p:nvGrpSpPr>
          <p:grpSpPr>
            <a:xfrm>
              <a:off x="3569606" y="2420888"/>
              <a:ext cx="144000" cy="1584169"/>
              <a:chOff x="2301544" y="2420888"/>
              <a:chExt cx="144000" cy="1584169"/>
            </a:xfrm>
          </p:grpSpPr>
          <p:cxnSp>
            <p:nvCxnSpPr>
              <p:cNvPr id="17" name="Gerader Verbinder 16"/>
              <p:cNvCxnSpPr/>
              <p:nvPr/>
            </p:nvCxnSpPr>
            <p:spPr>
              <a:xfrm>
                <a:off x="2373544" y="2420888"/>
                <a:ext cx="0" cy="1512168"/>
              </a:xfrm>
              <a:prstGeom prst="line">
                <a:avLst/>
              </a:prstGeom>
              <a:ln w="28575">
                <a:solidFill>
                  <a:schemeClr val="accent1">
                    <a:alpha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a:off x="2301544" y="3861057"/>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26" name="Textfeld 25"/>
          <p:cNvSpPr txBox="1"/>
          <p:nvPr/>
        </p:nvSpPr>
        <p:spPr>
          <a:xfrm>
            <a:off x="1135474" y="2167245"/>
            <a:ext cx="2520280" cy="2062103"/>
          </a:xfrm>
          <a:prstGeom prst="rect">
            <a:avLst/>
          </a:prstGeom>
          <a:noFill/>
        </p:spPr>
        <p:txBody>
          <a:bodyPr wrap="square" rtlCol="0">
            <a:spAutoFit/>
          </a:bodyPr>
          <a:lstStyle/>
          <a:p>
            <a:r>
              <a:rPr lang="de-DE" b="1" dirty="0" smtClean="0"/>
              <a:t>2010</a:t>
            </a:r>
          </a:p>
          <a:p>
            <a:r>
              <a:rPr lang="de-DE" sz="1400" dirty="0"/>
              <a:t>Bundesregierung im Jahr 2010 den </a:t>
            </a:r>
            <a:r>
              <a:rPr lang="de-DE" sz="1400" dirty="0">
                <a:hlinkClick r:id="rId5" tooltip="zur Seite der Bundesregierung mit dem Inhalt &quot;Nationale Strategie zur gesellschaftlichen Verantwortung von Unternehmen&quot;"/>
              </a:rPr>
              <a:t>Aktionsplan CSR</a:t>
            </a:r>
            <a:r>
              <a:rPr lang="de-DE" sz="1400" dirty="0"/>
              <a:t> verabschiedet, der in den Folgejahren umgesetzt wurde und CSR in Deutschland weiter verbreitet hat.</a:t>
            </a:r>
          </a:p>
          <a:p>
            <a:endParaRPr lang="de-DE" sz="1200" dirty="0"/>
          </a:p>
        </p:txBody>
      </p:sp>
      <p:sp>
        <p:nvSpPr>
          <p:cNvPr id="27" name="Textfeld 26"/>
          <p:cNvSpPr txBox="1"/>
          <p:nvPr/>
        </p:nvSpPr>
        <p:spPr>
          <a:xfrm>
            <a:off x="2496877" y="4686223"/>
            <a:ext cx="3898036" cy="1661993"/>
          </a:xfrm>
          <a:prstGeom prst="rect">
            <a:avLst/>
          </a:prstGeom>
          <a:noFill/>
        </p:spPr>
        <p:txBody>
          <a:bodyPr wrap="square" rtlCol="0">
            <a:spAutoFit/>
          </a:bodyPr>
          <a:lstStyle/>
          <a:p>
            <a:r>
              <a:rPr lang="de-DE" b="1" dirty="0" smtClean="0"/>
              <a:t>2016</a:t>
            </a:r>
            <a:endParaRPr lang="de-DE" b="1" dirty="0" smtClean="0"/>
          </a:p>
          <a:p>
            <a:r>
              <a:rPr lang="de-DE" sz="1400" dirty="0" smtClean="0"/>
              <a:t>Am 21. Dezember 2016 hat die Bundesregierung den </a:t>
            </a:r>
            <a:r>
              <a:rPr lang="de-DE" sz="1400" u="sng" dirty="0" smtClean="0"/>
              <a:t>Nationalen Aktionsplan Wirtschaft und Menschenrechte verabschiedet</a:t>
            </a:r>
            <a:r>
              <a:rPr lang="de-DE" sz="1400" dirty="0" smtClean="0"/>
              <a:t>.-&gt; Verantwortung von deutschen Unternehmen für die Achtung der Menschenrechte in einem festen Rahmen.</a:t>
            </a:r>
          </a:p>
        </p:txBody>
      </p:sp>
      <p:sp>
        <p:nvSpPr>
          <p:cNvPr id="32" name="Textfeld 31"/>
          <p:cNvSpPr txBox="1"/>
          <p:nvPr/>
        </p:nvSpPr>
        <p:spPr>
          <a:xfrm>
            <a:off x="5761154" y="2167245"/>
            <a:ext cx="2991184" cy="1661993"/>
          </a:xfrm>
          <a:prstGeom prst="rect">
            <a:avLst/>
          </a:prstGeom>
          <a:noFill/>
        </p:spPr>
        <p:txBody>
          <a:bodyPr wrap="square" rtlCol="0">
            <a:spAutoFit/>
          </a:bodyPr>
          <a:lstStyle/>
          <a:p>
            <a:r>
              <a:rPr lang="de-DE" b="1" dirty="0" smtClean="0"/>
              <a:t>2017</a:t>
            </a:r>
            <a:endParaRPr lang="de-DE" b="1" dirty="0" smtClean="0"/>
          </a:p>
          <a:p>
            <a:r>
              <a:rPr lang="de-DE" sz="1400" u="sng" dirty="0"/>
              <a:t>CSR-Richtlinie-Umsetzungsgesetz</a:t>
            </a:r>
            <a:r>
              <a:rPr lang="de-DE" sz="1400" dirty="0"/>
              <a:t> (CSR-RUG):</a:t>
            </a:r>
          </a:p>
          <a:p>
            <a:r>
              <a:rPr lang="de-DE" sz="1400" dirty="0"/>
              <a:t>Auf Grundlage der europäischen Richtlinie 2014/95/EU am 09.03.2017 im Bundestag beschlossen (§ 289b ff HGB).</a:t>
            </a:r>
            <a:endParaRPr lang="de-DE" sz="1400" dirty="0"/>
          </a:p>
        </p:txBody>
      </p:sp>
      <p:grpSp>
        <p:nvGrpSpPr>
          <p:cNvPr id="8" name="Gruppieren 7"/>
          <p:cNvGrpSpPr/>
          <p:nvPr/>
        </p:nvGrpSpPr>
        <p:grpSpPr>
          <a:xfrm>
            <a:off x="4964589" y="1913836"/>
            <a:ext cx="576064" cy="2302832"/>
            <a:chOff x="8394134" y="1682205"/>
            <a:chExt cx="576064" cy="2302832"/>
          </a:xfrm>
        </p:grpSpPr>
        <p:grpSp>
          <p:nvGrpSpPr>
            <p:cNvPr id="28" name="Gruppieren 27"/>
            <p:cNvGrpSpPr/>
            <p:nvPr/>
          </p:nvGrpSpPr>
          <p:grpSpPr>
            <a:xfrm>
              <a:off x="8610166" y="2400868"/>
              <a:ext cx="144000" cy="1584169"/>
              <a:chOff x="2301544" y="2420888"/>
              <a:chExt cx="144000" cy="1584169"/>
            </a:xfrm>
          </p:grpSpPr>
          <p:cxnSp>
            <p:nvCxnSpPr>
              <p:cNvPr id="30" name="Gerader Verbinder 29"/>
              <p:cNvCxnSpPr/>
              <p:nvPr/>
            </p:nvCxnSpPr>
            <p:spPr>
              <a:xfrm>
                <a:off x="2373544" y="2420888"/>
                <a:ext cx="0" cy="1512168"/>
              </a:xfrm>
              <a:prstGeom prst="line">
                <a:avLst/>
              </a:prstGeom>
              <a:ln w="28575">
                <a:solidFill>
                  <a:schemeClr val="accent1">
                    <a:alpha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1" name="Ellipse 30"/>
              <p:cNvSpPr/>
              <p:nvPr/>
            </p:nvSpPr>
            <p:spPr>
              <a:xfrm>
                <a:off x="2301544" y="3861057"/>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3" name="Träne 32"/>
            <p:cNvSpPr/>
            <p:nvPr/>
          </p:nvSpPr>
          <p:spPr>
            <a:xfrm rot="8031320">
              <a:off x="8394134" y="1682205"/>
              <a:ext cx="576064" cy="576064"/>
            </a:xfrm>
            <a:prstGeom prst="teardrop">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4" name="Grafik 33"/>
            <p:cNvPicPr>
              <a:picLocks noChangeAspect="1"/>
            </p:cNvPicPr>
            <p:nvPr/>
          </p:nvPicPr>
          <p:blipFill>
            <a:blip r:embed="rId4">
              <a:clrChange>
                <a:clrFrom>
                  <a:srgbClr val="F4F4F6"/>
                </a:clrFrom>
                <a:clrTo>
                  <a:srgbClr val="F4F4F6">
                    <a:alpha val="0"/>
                  </a:srgbClr>
                </a:clrTo>
              </a:clrChange>
            </a:blip>
            <a:stretch>
              <a:fillRect/>
            </a:stretch>
          </p:blipFill>
          <p:spPr>
            <a:xfrm>
              <a:off x="8567456" y="1737020"/>
              <a:ext cx="229419" cy="466434"/>
            </a:xfrm>
            <a:prstGeom prst="rect">
              <a:avLst/>
            </a:prstGeom>
          </p:spPr>
        </p:pic>
      </p:grpSp>
      <p:grpSp>
        <p:nvGrpSpPr>
          <p:cNvPr id="6" name="Gruppieren 5"/>
          <p:cNvGrpSpPr/>
          <p:nvPr/>
        </p:nvGrpSpPr>
        <p:grpSpPr>
          <a:xfrm>
            <a:off x="1812899" y="4090602"/>
            <a:ext cx="576064" cy="2328920"/>
            <a:chOff x="5873854" y="3861057"/>
            <a:chExt cx="576064" cy="2328920"/>
          </a:xfrm>
        </p:grpSpPr>
        <p:grpSp>
          <p:nvGrpSpPr>
            <p:cNvPr id="22" name="Gruppieren 21"/>
            <p:cNvGrpSpPr/>
            <p:nvPr/>
          </p:nvGrpSpPr>
          <p:grpSpPr>
            <a:xfrm rot="10800000">
              <a:off x="6089887" y="3861057"/>
              <a:ext cx="144000" cy="1584169"/>
              <a:chOff x="2301544" y="2420888"/>
              <a:chExt cx="144000" cy="1584169"/>
            </a:xfrm>
          </p:grpSpPr>
          <p:cxnSp>
            <p:nvCxnSpPr>
              <p:cNvPr id="24" name="Gerader Verbinder 23"/>
              <p:cNvCxnSpPr/>
              <p:nvPr/>
            </p:nvCxnSpPr>
            <p:spPr>
              <a:xfrm>
                <a:off x="2373544" y="2420888"/>
                <a:ext cx="0" cy="1512168"/>
              </a:xfrm>
              <a:prstGeom prst="line">
                <a:avLst/>
              </a:prstGeom>
              <a:ln w="28575">
                <a:solidFill>
                  <a:schemeClr val="accent1">
                    <a:alpha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 name="Ellipse 24"/>
              <p:cNvSpPr/>
              <p:nvPr/>
            </p:nvSpPr>
            <p:spPr>
              <a:xfrm>
                <a:off x="2301544" y="3861057"/>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5" name="Träne 34"/>
            <p:cNvSpPr/>
            <p:nvPr/>
          </p:nvSpPr>
          <p:spPr>
            <a:xfrm rot="18854698">
              <a:off x="5873854" y="5613913"/>
              <a:ext cx="576064" cy="576064"/>
            </a:xfrm>
            <a:prstGeom prst="teardrop">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6" name="Grafik 35"/>
            <p:cNvPicPr>
              <a:picLocks noChangeAspect="1"/>
            </p:cNvPicPr>
            <p:nvPr/>
          </p:nvPicPr>
          <p:blipFill>
            <a:blip r:embed="rId4">
              <a:clrChange>
                <a:clrFrom>
                  <a:srgbClr val="F4F4F6"/>
                </a:clrFrom>
                <a:clrTo>
                  <a:srgbClr val="F4F4F6">
                    <a:alpha val="0"/>
                  </a:srgbClr>
                </a:clrTo>
              </a:clrChange>
            </a:blip>
            <a:stretch>
              <a:fillRect/>
            </a:stretch>
          </p:blipFill>
          <p:spPr>
            <a:xfrm rot="10823378">
              <a:off x="6047176" y="5668728"/>
              <a:ext cx="229419" cy="466434"/>
            </a:xfrm>
            <a:prstGeom prst="rect">
              <a:avLst/>
            </a:prstGeom>
          </p:spPr>
        </p:pic>
      </p:grpSp>
      <p:sp>
        <p:nvSpPr>
          <p:cNvPr id="29" name="Textfeld 28"/>
          <p:cNvSpPr txBox="1"/>
          <p:nvPr/>
        </p:nvSpPr>
        <p:spPr>
          <a:xfrm>
            <a:off x="7981255" y="4619068"/>
            <a:ext cx="3298333" cy="1877437"/>
          </a:xfrm>
          <a:prstGeom prst="rect">
            <a:avLst/>
          </a:prstGeom>
          <a:noFill/>
        </p:spPr>
        <p:txBody>
          <a:bodyPr wrap="square" rtlCol="0">
            <a:spAutoFit/>
          </a:bodyPr>
          <a:lstStyle/>
          <a:p>
            <a:r>
              <a:rPr lang="de-DE" b="1" dirty="0" smtClean="0"/>
              <a:t>2021</a:t>
            </a:r>
          </a:p>
          <a:p>
            <a:r>
              <a:rPr lang="de-DE" sz="1400" dirty="0" smtClean="0"/>
              <a:t>Das</a:t>
            </a:r>
            <a:r>
              <a:rPr lang="de-DE" sz="1400" dirty="0"/>
              <a:t> </a:t>
            </a:r>
            <a:r>
              <a:rPr lang="de-DE" sz="1400" dirty="0">
                <a:hlinkClick r:id="rId6" tooltip="Lieferkettengesetz"/>
              </a:rPr>
              <a:t>Gesetz über die unternehmerischen Sorgfaltspflichten in </a:t>
            </a:r>
            <a:r>
              <a:rPr lang="de-DE" sz="1400" dirty="0" smtClean="0">
                <a:hlinkClick r:id="rId6" tooltip="Lieferkettengesetz"/>
              </a:rPr>
              <a:t>Lieferketten</a:t>
            </a:r>
            <a:r>
              <a:rPr lang="de-DE" sz="1400" dirty="0" smtClean="0"/>
              <a:t> Damit </a:t>
            </a:r>
            <a:r>
              <a:rPr lang="de-DE" sz="1400" dirty="0"/>
              <a:t>wird die Verantwortung deutscher Unternehmen für die Achtung von Menschenrechten in globalen Lieferketten erstmals verbindlich geregelt.</a:t>
            </a:r>
          </a:p>
        </p:txBody>
      </p:sp>
      <p:grpSp>
        <p:nvGrpSpPr>
          <p:cNvPr id="38" name="Gruppieren 37"/>
          <p:cNvGrpSpPr/>
          <p:nvPr/>
        </p:nvGrpSpPr>
        <p:grpSpPr>
          <a:xfrm>
            <a:off x="6921488" y="4146452"/>
            <a:ext cx="576064" cy="2328920"/>
            <a:chOff x="5873854" y="3861057"/>
            <a:chExt cx="576064" cy="2328920"/>
          </a:xfrm>
        </p:grpSpPr>
        <p:grpSp>
          <p:nvGrpSpPr>
            <p:cNvPr id="39" name="Gruppieren 38"/>
            <p:cNvGrpSpPr/>
            <p:nvPr/>
          </p:nvGrpSpPr>
          <p:grpSpPr>
            <a:xfrm rot="10800000">
              <a:off x="6089887" y="3861057"/>
              <a:ext cx="144000" cy="1584169"/>
              <a:chOff x="2301544" y="2420888"/>
              <a:chExt cx="144000" cy="1584169"/>
            </a:xfrm>
          </p:grpSpPr>
          <p:cxnSp>
            <p:nvCxnSpPr>
              <p:cNvPr id="42" name="Gerader Verbinder 41"/>
              <p:cNvCxnSpPr/>
              <p:nvPr/>
            </p:nvCxnSpPr>
            <p:spPr>
              <a:xfrm>
                <a:off x="2373544" y="2420888"/>
                <a:ext cx="0" cy="1512168"/>
              </a:xfrm>
              <a:prstGeom prst="line">
                <a:avLst/>
              </a:prstGeom>
              <a:ln w="28575">
                <a:solidFill>
                  <a:schemeClr val="accent1">
                    <a:alpha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3" name="Ellipse 42"/>
              <p:cNvSpPr/>
              <p:nvPr/>
            </p:nvSpPr>
            <p:spPr>
              <a:xfrm>
                <a:off x="2301544" y="3861057"/>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0" name="Träne 39"/>
            <p:cNvSpPr/>
            <p:nvPr/>
          </p:nvSpPr>
          <p:spPr>
            <a:xfrm rot="18854698">
              <a:off x="5873854" y="5613913"/>
              <a:ext cx="576064" cy="576064"/>
            </a:xfrm>
            <a:prstGeom prst="teardrop">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1" name="Grafik 40"/>
            <p:cNvPicPr>
              <a:picLocks noChangeAspect="1"/>
            </p:cNvPicPr>
            <p:nvPr/>
          </p:nvPicPr>
          <p:blipFill>
            <a:blip r:embed="rId4">
              <a:clrChange>
                <a:clrFrom>
                  <a:srgbClr val="F4F4F6"/>
                </a:clrFrom>
                <a:clrTo>
                  <a:srgbClr val="F4F4F6">
                    <a:alpha val="0"/>
                  </a:srgbClr>
                </a:clrTo>
              </a:clrChange>
            </a:blip>
            <a:stretch>
              <a:fillRect/>
            </a:stretch>
          </p:blipFill>
          <p:spPr>
            <a:xfrm rot="10823378">
              <a:off x="6047176" y="5668728"/>
              <a:ext cx="229419" cy="466434"/>
            </a:xfrm>
            <a:prstGeom prst="rect">
              <a:avLst/>
            </a:prstGeom>
          </p:spPr>
        </p:pic>
      </p:grpSp>
    </p:spTree>
    <p:extLst>
      <p:ext uri="{BB962C8B-B14F-4D97-AF65-F5344CB8AC3E}">
        <p14:creationId xmlns:p14="http://schemas.microsoft.com/office/powerpoint/2010/main" val="36336806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1FD2331-E178-454D-B913-407C6E3A173D}"/>
              </a:ext>
            </a:extLst>
          </p:cNvPr>
          <p:cNvSpPr>
            <a:spLocks noGrp="1"/>
          </p:cNvSpPr>
          <p:nvPr>
            <p:ph idx="13"/>
          </p:nvPr>
        </p:nvSpPr>
        <p:spPr>
          <a:xfrm>
            <a:off x="516827" y="2101868"/>
            <a:ext cx="11158343" cy="2968526"/>
          </a:xfrm>
        </p:spPr>
        <p:txBody>
          <a:bodyPr/>
          <a:lstStyle/>
          <a:p>
            <a:r>
              <a:rPr lang="de-DE" sz="1800" dirty="0" smtClean="0"/>
              <a:t>ab </a:t>
            </a:r>
            <a:r>
              <a:rPr lang="de-DE" sz="1800" b="1" dirty="0"/>
              <a:t>2023</a:t>
            </a:r>
            <a:r>
              <a:rPr lang="de-DE" sz="1800" dirty="0"/>
              <a:t> </a:t>
            </a:r>
            <a:r>
              <a:rPr lang="de-DE" sz="1800" dirty="0" smtClean="0"/>
              <a:t>für </a:t>
            </a:r>
            <a:r>
              <a:rPr lang="de-DE" sz="1800" dirty="0"/>
              <a:t>Unternehmen mit </a:t>
            </a:r>
            <a:r>
              <a:rPr lang="de-DE" sz="1800" dirty="0" smtClean="0"/>
              <a:t>mind. </a:t>
            </a:r>
            <a:r>
              <a:rPr lang="de-DE" sz="1800" b="1" dirty="0"/>
              <a:t>3.000</a:t>
            </a:r>
            <a:r>
              <a:rPr lang="de-DE" sz="1800" dirty="0"/>
              <a:t>, ab </a:t>
            </a:r>
            <a:r>
              <a:rPr lang="de-DE" sz="1800" b="1" dirty="0"/>
              <a:t>2024</a:t>
            </a:r>
            <a:r>
              <a:rPr lang="de-DE" sz="1800" dirty="0"/>
              <a:t> auch für Unternehmen mit mindestens </a:t>
            </a:r>
            <a:r>
              <a:rPr lang="de-DE" sz="1800" b="1" dirty="0"/>
              <a:t>1.000</a:t>
            </a:r>
            <a:r>
              <a:rPr lang="de-DE" sz="1800" dirty="0"/>
              <a:t> Arbeit­­­­nehmer*innen im Inland</a:t>
            </a:r>
            <a:r>
              <a:rPr lang="de-DE" sz="1800" dirty="0" smtClean="0"/>
              <a:t>.</a:t>
            </a:r>
          </a:p>
          <a:p>
            <a:r>
              <a:rPr lang="de-DE" sz="1800" dirty="0"/>
              <a:t>Einrichtung eines </a:t>
            </a:r>
            <a:r>
              <a:rPr lang="de-DE" sz="1800" b="1" dirty="0"/>
              <a:t>Risikomanagements</a:t>
            </a:r>
            <a:r>
              <a:rPr lang="de-DE" sz="1800" dirty="0"/>
              <a:t>, um die Risiken von Menschenrechts­verletzungen und Schädigungen der Umwelt zu identifizieren, zu vermeiden oder zu </a:t>
            </a:r>
            <a:r>
              <a:rPr lang="de-DE" sz="1800" dirty="0" smtClean="0"/>
              <a:t>minimieren</a:t>
            </a:r>
            <a:endParaRPr lang="de-DE" sz="1800" dirty="0"/>
          </a:p>
          <a:p>
            <a:r>
              <a:rPr lang="de-DE" sz="1800" dirty="0" smtClean="0"/>
              <a:t>Verbote von Kinderarbeit, Sklaverei und Zwangsarbeit, die Missachtung des Arbeits- und Gesundheitsschutzes, die Vorenthaltung eines angemessenen Lohns, die Missachtung des Rechts, Gewerkschaften bzw. Mitarbeitervertretungen zu bilden, Verbot direkter Umweltschäden etc.</a:t>
            </a:r>
          </a:p>
          <a:p>
            <a:r>
              <a:rPr lang="de-DE" sz="1800" dirty="0" smtClean="0"/>
              <a:t>Die </a:t>
            </a:r>
            <a:r>
              <a:rPr lang="de-DE" sz="1800" dirty="0"/>
              <a:t>Sorgfaltspflichten beziehen sich auf den </a:t>
            </a:r>
            <a:r>
              <a:rPr lang="de-DE" sz="1800" b="1" dirty="0"/>
              <a:t>eigenen Geschäftsbereich</a:t>
            </a:r>
            <a:r>
              <a:rPr lang="de-DE" sz="1800" dirty="0"/>
              <a:t>, auf das Handeln </a:t>
            </a:r>
            <a:r>
              <a:rPr lang="de-DE" sz="1800" b="1" dirty="0"/>
              <a:t>eines Vertragspartners </a:t>
            </a:r>
            <a:r>
              <a:rPr lang="de-DE" sz="1800" dirty="0" smtClean="0"/>
              <a:t>und </a:t>
            </a:r>
            <a:r>
              <a:rPr lang="de-DE" sz="1800" b="1" dirty="0" smtClean="0"/>
              <a:t>weiterer </a:t>
            </a:r>
            <a:r>
              <a:rPr lang="de-DE" sz="1800" b="1" dirty="0"/>
              <a:t>(mittelbarer) Zulieferer</a:t>
            </a:r>
            <a:r>
              <a:rPr lang="de-DE" sz="1800" dirty="0"/>
              <a:t>. </a:t>
            </a:r>
            <a:endParaRPr lang="de-DE" sz="1800" dirty="0" smtClean="0"/>
          </a:p>
          <a:p>
            <a:r>
              <a:rPr lang="de-DE" sz="1800" dirty="0" smtClean="0"/>
              <a:t>Folgen: Bußgelder oder Ausschluss bei Vergabe von öffentlichen Aufträgen</a:t>
            </a:r>
            <a:endParaRPr lang="en-US" sz="2800" dirty="0"/>
          </a:p>
          <a:p>
            <a:endParaRPr lang="en-US" dirty="0"/>
          </a:p>
        </p:txBody>
      </p:sp>
      <p:sp>
        <p:nvSpPr>
          <p:cNvPr id="4" name="Titel 3"/>
          <p:cNvSpPr>
            <a:spLocks noGrp="1"/>
          </p:cNvSpPr>
          <p:nvPr>
            <p:ph type="title"/>
          </p:nvPr>
        </p:nvSpPr>
        <p:spPr/>
        <p:txBody>
          <a:bodyPr/>
          <a:lstStyle/>
          <a:p>
            <a:r>
              <a:rPr lang="de-DE" dirty="0"/>
              <a:t>Das Lieferkettengesetz</a:t>
            </a:r>
            <a:br>
              <a:rPr lang="de-DE" dirty="0"/>
            </a:br>
            <a:endParaRPr lang="de-DE" dirty="0"/>
          </a:p>
        </p:txBody>
      </p:sp>
      <p:pic>
        <p:nvPicPr>
          <p:cNvPr id="7" name="Grafik 6"/>
          <p:cNvPicPr>
            <a:picLocks noChangeAspect="1"/>
          </p:cNvPicPr>
          <p:nvPr/>
        </p:nvPicPr>
        <p:blipFill>
          <a:blip r:embed="rId3">
            <a:clrChange>
              <a:clrFrom>
                <a:srgbClr val="F4F4F6"/>
              </a:clrFrom>
              <a:clrTo>
                <a:srgbClr val="F4F4F6">
                  <a:alpha val="0"/>
                </a:srgbClr>
              </a:clrTo>
            </a:clrChange>
          </a:blip>
          <a:stretch>
            <a:fillRect/>
          </a:stretch>
        </p:blipFill>
        <p:spPr>
          <a:xfrm>
            <a:off x="9675797" y="4756875"/>
            <a:ext cx="632139" cy="1285208"/>
          </a:xfrm>
          <a:prstGeom prst="rect">
            <a:avLst/>
          </a:prstGeom>
        </p:spPr>
      </p:pic>
    </p:spTree>
    <p:extLst>
      <p:ext uri="{BB962C8B-B14F-4D97-AF65-F5344CB8AC3E}">
        <p14:creationId xmlns:p14="http://schemas.microsoft.com/office/powerpoint/2010/main" val="13833405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heme/theme1.xml><?xml version="1.0" encoding="utf-8"?>
<a:theme xmlns:a="http://schemas.openxmlformats.org/drawingml/2006/main" name="Starterfolie">
  <a:themeElements>
    <a:clrScheme name="MD_Zentren">
      <a:dk1>
        <a:srgbClr val="000000"/>
      </a:dk1>
      <a:lt1>
        <a:srgbClr val="FFFFFF"/>
      </a:lt1>
      <a:dk2>
        <a:srgbClr val="000000"/>
      </a:dk2>
      <a:lt2>
        <a:srgbClr val="FFFFFF"/>
      </a:lt2>
      <a:accent1>
        <a:srgbClr val="CD0A1E"/>
      </a:accent1>
      <a:accent2>
        <a:srgbClr val="007BC3"/>
      </a:accent2>
      <a:accent3>
        <a:srgbClr val="7CB8C0"/>
      </a:accent3>
      <a:accent4>
        <a:srgbClr val="7FBCE1"/>
      </a:accent4>
      <a:accent5>
        <a:srgbClr val="CAE2E5"/>
      </a:accent5>
      <a:accent6>
        <a:srgbClr val="00000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0510b_MD_PPT_Master" id="{40620866-8BE5-AB42-8022-3A8CD2ED4208}" vid="{C190EAD0-7F2F-A848-91E1-FDC0D5FC7F69}"/>
    </a:ext>
  </a:extLst>
</a:theme>
</file>

<file path=ppt/theme/theme2.xml><?xml version="1.0" encoding="utf-8"?>
<a:theme xmlns:a="http://schemas.openxmlformats.org/drawingml/2006/main" name="Inhaltsfolien">
  <a:themeElements>
    <a:clrScheme name="MD_Zentren">
      <a:dk1>
        <a:srgbClr val="000000"/>
      </a:dk1>
      <a:lt1>
        <a:srgbClr val="FFFFFF"/>
      </a:lt1>
      <a:dk2>
        <a:srgbClr val="000000"/>
      </a:dk2>
      <a:lt2>
        <a:srgbClr val="FFFFFF"/>
      </a:lt2>
      <a:accent1>
        <a:srgbClr val="CD0A1E"/>
      </a:accent1>
      <a:accent2>
        <a:srgbClr val="007BC3"/>
      </a:accent2>
      <a:accent3>
        <a:srgbClr val="7CB8C0"/>
      </a:accent3>
      <a:accent4>
        <a:srgbClr val="7FBCE1"/>
      </a:accent4>
      <a:accent5>
        <a:srgbClr val="CAE2E5"/>
      </a:accent5>
      <a:accent6>
        <a:srgbClr val="00000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0510b_MD_PPT_Master" id="{40620866-8BE5-AB42-8022-3A8CD2ED4208}" vid="{BA1BD738-8DE6-3946-8A1D-B2E7DAAF9787}"/>
    </a:ext>
  </a:extLst>
</a:theme>
</file>

<file path=ppt/theme/theme3.xml><?xml version="1.0" encoding="utf-8"?>
<a:theme xmlns:a="http://schemas.openxmlformats.org/drawingml/2006/main" name="Abschlussfolien">
  <a:themeElements>
    <a:clrScheme name="MD_Zentren">
      <a:dk1>
        <a:srgbClr val="000000"/>
      </a:dk1>
      <a:lt1>
        <a:srgbClr val="FFFFFF"/>
      </a:lt1>
      <a:dk2>
        <a:srgbClr val="000000"/>
      </a:dk2>
      <a:lt2>
        <a:srgbClr val="FFFFFF"/>
      </a:lt2>
      <a:accent1>
        <a:srgbClr val="CD0A1E"/>
      </a:accent1>
      <a:accent2>
        <a:srgbClr val="007BC3"/>
      </a:accent2>
      <a:accent3>
        <a:srgbClr val="7CB8C0"/>
      </a:accent3>
      <a:accent4>
        <a:srgbClr val="7FBCE1"/>
      </a:accent4>
      <a:accent5>
        <a:srgbClr val="CAE2E5"/>
      </a:accent5>
      <a:accent6>
        <a:srgbClr val="00000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0510b_MD_PPT_Master" id="{40620866-8BE5-AB42-8022-3A8CD2ED4208}" vid="{F7952905-9220-1F4C-9215-62E27808A86E}"/>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70CE2CF3A839B4C97ED89FF94497B31" ma:contentTypeVersion="11" ma:contentTypeDescription="Ein neues Dokument erstellen." ma:contentTypeScope="" ma:versionID="0800ffc71f6a5cb13e6effdb849d1471">
  <xsd:schema xmlns:xsd="http://www.w3.org/2001/XMLSchema" xmlns:xs="http://www.w3.org/2001/XMLSchema" xmlns:p="http://schemas.microsoft.com/office/2006/metadata/properties" xmlns:ns2="478f619d-a158-4798-b298-c0cf1eb1004c" xmlns:ns3="40a87b71-96c7-4d4a-9205-582755c342af" targetNamespace="http://schemas.microsoft.com/office/2006/metadata/properties" ma:root="true" ma:fieldsID="4d795c46ef28cf8ed826b85efad447ce" ns2:_="" ns3:_="">
    <xsd:import namespace="478f619d-a158-4798-b298-c0cf1eb1004c"/>
    <xsd:import namespace="40a87b71-96c7-4d4a-9205-582755c342a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8f619d-a158-4798-b298-c0cf1eb100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a87b71-96c7-4d4a-9205-582755c342af"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C52FE8-8707-4273-9DD5-5AEEE21A27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8f619d-a158-4798-b298-c0cf1eb1004c"/>
    <ds:schemaRef ds:uri="40a87b71-96c7-4d4a-9205-582755c342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D366E2-BB25-4750-A025-E7165DA659CF}">
  <ds:schemaRefs>
    <ds:schemaRef ds:uri="http://schemas.microsoft.com/sharepoint/v3/contenttype/forms"/>
  </ds:schemaRefs>
</ds:datastoreItem>
</file>

<file path=customXml/itemProps3.xml><?xml version="1.0" encoding="utf-8"?>
<ds:datastoreItem xmlns:ds="http://schemas.openxmlformats.org/officeDocument/2006/customXml" ds:itemID="{432A17BA-E9CA-42E3-8EFC-5B22E46D8FC8}">
  <ds:schemaRefs>
    <ds:schemaRef ds:uri="http://purl.org/dc/terms/"/>
    <ds:schemaRef ds:uri="http://purl.org/dc/elements/1.1/"/>
    <ds:schemaRef ds:uri="http://schemas.microsoft.com/office/2006/documentManagement/types"/>
    <ds:schemaRef ds:uri="40a87b71-96c7-4d4a-9205-582755c342af"/>
    <ds:schemaRef ds:uri="http://purl.org/dc/dcmitype/"/>
    <ds:schemaRef ds:uri="http://schemas.microsoft.com/office/infopath/2007/PartnerControls"/>
    <ds:schemaRef ds:uri="http://schemas.openxmlformats.org/package/2006/metadata/core-properties"/>
    <ds:schemaRef ds:uri="478f619d-a158-4798-b298-c0cf1eb1004c"/>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0210510b_MD_PPT_Master</Template>
  <TotalTime>0</TotalTime>
  <Words>3868</Words>
  <Application>Microsoft Office PowerPoint</Application>
  <PresentationFormat>Breitbild</PresentationFormat>
  <Paragraphs>297</Paragraphs>
  <Slides>25</Slides>
  <Notes>16</Notes>
  <HiddenSlides>9</HiddenSlides>
  <MMClips>0</MMClips>
  <ScaleCrop>false</ScaleCrop>
  <HeadingPairs>
    <vt:vector size="8" baseType="variant">
      <vt:variant>
        <vt:lpstr>Verwendete Schriftarten</vt:lpstr>
      </vt:variant>
      <vt:variant>
        <vt:i4>7</vt:i4>
      </vt:variant>
      <vt:variant>
        <vt:lpstr>Design</vt:lpstr>
      </vt:variant>
      <vt:variant>
        <vt:i4>3</vt:i4>
      </vt:variant>
      <vt:variant>
        <vt:lpstr>Eingebettete OLE-Server</vt:lpstr>
      </vt:variant>
      <vt:variant>
        <vt:i4>1</vt:i4>
      </vt:variant>
      <vt:variant>
        <vt:lpstr>Folientitel</vt:lpstr>
      </vt:variant>
      <vt:variant>
        <vt:i4>25</vt:i4>
      </vt:variant>
    </vt:vector>
  </HeadingPairs>
  <TitlesOfParts>
    <vt:vector size="36" baseType="lpstr">
      <vt:lpstr>Arial</vt:lpstr>
      <vt:lpstr>Calibri</vt:lpstr>
      <vt:lpstr>Exo 2</vt:lpstr>
      <vt:lpstr>Roboto Slab</vt:lpstr>
      <vt:lpstr>Roboto Slab Light</vt:lpstr>
      <vt:lpstr>Symbol</vt:lpstr>
      <vt:lpstr>Wingdings</vt:lpstr>
      <vt:lpstr>Starterfolie</vt:lpstr>
      <vt:lpstr>Inhaltsfolien</vt:lpstr>
      <vt:lpstr>Abschlussfolien</vt:lpstr>
      <vt:lpstr>think-cell Folie</vt:lpstr>
      <vt:lpstr>Netzwerk Teilhabequalität 27. Onlineaustausch –  Thema: Nachhaltigkeitsberichterstattung</vt:lpstr>
      <vt:lpstr>PowerPoint-Präsentation</vt:lpstr>
      <vt:lpstr>Was ist CSR</vt:lpstr>
      <vt:lpstr>Was ist CSR</vt:lpstr>
      <vt:lpstr>Sustainable Development Goals (SDGs) als Orientierung</vt:lpstr>
      <vt:lpstr>Nachhaltigkeitsindikatoren nach GRI</vt:lpstr>
      <vt:lpstr>CSR in Deutschland</vt:lpstr>
      <vt:lpstr>CSR in Deutschland</vt:lpstr>
      <vt:lpstr>Das Lieferkettengesetz </vt:lpstr>
      <vt:lpstr>Das Lieferkettengesetz</vt:lpstr>
      <vt:lpstr>CSRD (Corporate Sustainability Reporting Directive)</vt:lpstr>
      <vt:lpstr>Neuerungen</vt:lpstr>
      <vt:lpstr>Doppelte Wesentlichkeit</vt:lpstr>
      <vt:lpstr>Neuerungen</vt:lpstr>
      <vt:lpstr>Warum ist Nachhaltigkeit für soziale Organisationen schwierig?</vt:lpstr>
      <vt:lpstr>Entwicklungsstände: Nachhaltigkeitsmanagement in WfbM</vt:lpstr>
      <vt:lpstr>Gründe für die Nachhaltigkeitsberichterstattung in WfbM</vt:lpstr>
      <vt:lpstr>Beispiel Elbe-Werkstätten GmbH </vt:lpstr>
      <vt:lpstr>Internationale Rahmenwerke</vt:lpstr>
      <vt:lpstr>Internationale Rahmenwerke</vt:lpstr>
      <vt:lpstr>Internationale Rahmenwerke</vt:lpstr>
      <vt:lpstr>Wesentlichkeitsanalyse</vt:lpstr>
      <vt:lpstr>Wesentlichkeitsanalyse</vt:lpstr>
      <vt:lpstr>Wesentlichkeitsanalyse</vt:lpstr>
      <vt:lpstr>Vielen Dank</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Larissa Theis</dc:creator>
  <cp:keywords/>
  <dc:description/>
  <cp:lastModifiedBy>Ilknur Atakli</cp:lastModifiedBy>
  <cp:revision>168</cp:revision>
  <dcterms:created xsi:type="dcterms:W3CDTF">2021-08-02T11:57:54Z</dcterms:created>
  <dcterms:modified xsi:type="dcterms:W3CDTF">2023-09-24T23:05:4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0CE2CF3A839B4C97ED89FF94497B31</vt:lpwstr>
  </property>
</Properties>
</file>